
<file path=[Content_Types].xml><?xml version="1.0" encoding="utf-8"?>
<Types xmlns="http://schemas.openxmlformats.org/package/2006/content-types">
  <Default Extension="png" ContentType="image/png"/>
  <Default Extension="svg" ContentType="image/svg+xml"/>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theme/theme2.xml" ContentType="application/vnd.openxmlformats-officedocument.theme+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notesSlides/notesSlide8.xml" ContentType="application/vnd.openxmlformats-officedocument.presentationml.notesSlide+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0.xml" ContentType="application/vnd.openxmlformats-officedocument.presentationml.notesSlide+xml"/>
  <Override PartName="/ppt/charts/chart4.xml" ContentType="application/vnd.openxmlformats-officedocument.drawingml.chart+xml"/>
  <Override PartName="/ppt/charts/style3.xml" ContentType="application/vnd.ms-office.chartstyle+xml"/>
  <Override PartName="/ppt/charts/colors3.xml" ContentType="application/vnd.ms-office.chartcolorstyle+xml"/>
  <Override PartName="/ppt/charts/chart5.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1.xml" ContentType="application/vnd.openxmlformats-officedocument.presentationml.notesSlide+xml"/>
  <Override PartName="/ppt/charts/chart6.xml" ContentType="application/vnd.openxmlformats-officedocument.drawingml.chart+xml"/>
  <Override PartName="/ppt/charts/style5.xml" ContentType="application/vnd.ms-office.chartstyle+xml"/>
  <Override PartName="/ppt/charts/colors5.xml" ContentType="application/vnd.ms-office.chartcolorstyle+xml"/>
  <Override PartName="/ppt/charts/chart7.xml" ContentType="application/vnd.openxmlformats-officedocument.drawingml.chart+xml"/>
  <Override PartName="/ppt/charts/style6.xml" ContentType="application/vnd.ms-office.chartstyle+xml"/>
  <Override PartName="/ppt/charts/colors6.xml" ContentType="application/vnd.ms-office.chartcolorstyle+xml"/>
  <Override PartName="/ppt/charts/chart8.xml" ContentType="application/vnd.openxmlformats-officedocument.drawingml.chart+xml"/>
  <Override PartName="/ppt/charts/style7.xml" ContentType="application/vnd.ms-office.chartstyle+xml"/>
  <Override PartName="/ppt/charts/colors7.xml" ContentType="application/vnd.ms-office.chartcolorstyle+xml"/>
  <Override PartName="/ppt/charts/chart9.xml" ContentType="application/vnd.openxmlformats-officedocument.drawingml.chart+xml"/>
  <Override PartName="/ppt/charts/style8.xml" ContentType="application/vnd.ms-office.chartstyle+xml"/>
  <Override PartName="/ppt/charts/colors8.xml" ContentType="application/vnd.ms-office.chartcolorstyle+xml"/>
  <Override PartName="/ppt/drawings/drawing1.xml" ContentType="application/vnd.openxmlformats-officedocument.drawingml.chartshapes+xml"/>
  <Override PartName="/ppt/notesSlides/notesSlide12.xml" ContentType="application/vnd.openxmlformats-officedocument.presentationml.notesSlide+xml"/>
  <Override PartName="/ppt/charts/chart10.xml" ContentType="application/vnd.openxmlformats-officedocument.drawingml.chart+xml"/>
  <Override PartName="/ppt/charts/style9.xml" ContentType="application/vnd.ms-office.chartstyle+xml"/>
  <Override PartName="/ppt/charts/colors9.xml" ContentType="application/vnd.ms-office.chartcolorstyle+xml"/>
  <Override PartName="/ppt/notesSlides/notesSlide13.xml" ContentType="application/vnd.openxmlformats-officedocument.presentationml.notesSlide+xml"/>
  <Override PartName="/ppt/charts/chart11.xml" ContentType="application/vnd.openxmlformats-officedocument.drawingml.chart+xml"/>
  <Override PartName="/ppt/charts/style10.xml" ContentType="application/vnd.ms-office.chartstyle+xml"/>
  <Override PartName="/ppt/charts/colors10.xml" ContentType="application/vnd.ms-office.chartcolorstyle+xml"/>
  <Override PartName="/ppt/notesSlides/notesSlide14.xml" ContentType="application/vnd.openxmlformats-officedocument.presentationml.notesSlide+xml"/>
  <Override PartName="/ppt/charts/chart12.xml" ContentType="application/vnd.openxmlformats-officedocument.drawingml.chart+xml"/>
  <Override PartName="/ppt/charts/style11.xml" ContentType="application/vnd.ms-office.chartstyle+xml"/>
  <Override PartName="/ppt/charts/colors11.xml" ContentType="application/vnd.ms-office.chartcolorstyl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ppt/comments/modernComment_11E_DF8D3417.xml" ContentType="application/vnd.ms-powerpoint.comment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4375" r:id="rId2"/>
    <p:sldMasterId id="2147483708" r:id="rId3"/>
  </p:sldMasterIdLst>
  <p:notesMasterIdLst>
    <p:notesMasterId r:id="rId37"/>
  </p:notesMasterIdLst>
  <p:sldIdLst>
    <p:sldId id="257" r:id="rId4"/>
    <p:sldId id="646" r:id="rId5"/>
    <p:sldId id="647" r:id="rId6"/>
    <p:sldId id="637" r:id="rId7"/>
    <p:sldId id="544" r:id="rId8"/>
    <p:sldId id="590" r:id="rId9"/>
    <p:sldId id="570" r:id="rId10"/>
    <p:sldId id="571" r:id="rId11"/>
    <p:sldId id="591" r:id="rId12"/>
    <p:sldId id="649" r:id="rId13"/>
    <p:sldId id="639" r:id="rId14"/>
    <p:sldId id="640" r:id="rId15"/>
    <p:sldId id="641" r:id="rId16"/>
    <p:sldId id="642" r:id="rId17"/>
    <p:sldId id="548" r:id="rId18"/>
    <p:sldId id="549" r:id="rId19"/>
    <p:sldId id="559" r:id="rId20"/>
    <p:sldId id="332" r:id="rId21"/>
    <p:sldId id="334" r:id="rId22"/>
    <p:sldId id="336" r:id="rId23"/>
    <p:sldId id="338" r:id="rId24"/>
    <p:sldId id="340" r:id="rId25"/>
    <p:sldId id="643" r:id="rId26"/>
    <p:sldId id="602" r:id="rId27"/>
    <p:sldId id="555" r:id="rId28"/>
    <p:sldId id="556" r:id="rId29"/>
    <p:sldId id="557" r:id="rId30"/>
    <p:sldId id="286" r:id="rId31"/>
    <p:sldId id="476" r:id="rId32"/>
    <p:sldId id="644" r:id="rId33"/>
    <p:sldId id="648" r:id="rId34"/>
    <p:sldId id="645" r:id="rId35"/>
    <p:sldId id="474" r:id="rId3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E5FBE01E-7B92-B9C0-0995-5C3FE74E91A1}" name="Alana Rivera" initials="AR" userId="S::arg3669@ads.northwestern.edu::fc8b707a-b7e9-4f2a-8d71-2d76819b7881" providerId="AD"/>
  <p188:author id="{FCF8223C-610E-2BBA-F33B-0E1F55F6BB33}" name="Patricia Ann Lee King" initials="PK" userId="S::pal094@ads.northwestern.edu::dbab7ec2-5444-4d21-afe7-a39974533ddc" providerId="AD"/>
  <p188:author id="{B1E8E1CE-C373-4BDB-0D3F-F84FE1DA86D4}" name="Eileen Fleming Suse" initials="ES" userId="S::efs3844@ads.northwestern.edu::725c94ef-d051-42d7-9d33-8572765d592b"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C99FF"/>
    <a:srgbClr val="ED7373"/>
    <a:srgbClr val="B9B9B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EADD005-3557-70EB-3293-BF860B1AFDBC}" v="68" dt="2023-02-22T15:23:56.69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9971" autoAdjust="0"/>
    <p:restoredTop sz="94660"/>
  </p:normalViewPr>
  <p:slideViewPr>
    <p:cSldViewPr snapToGrid="0">
      <p:cViewPr varScale="1">
        <p:scale>
          <a:sx n="64" d="100"/>
          <a:sy n="64" d="100"/>
        </p:scale>
        <p:origin x="560" y="3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slide" Target="slides/slide18.xml"/><Relationship Id="rId34" Type="http://schemas.openxmlformats.org/officeDocument/2006/relationships/slide" Target="slides/slide31.xml"/><Relationship Id="rId42" Type="http://schemas.microsoft.com/office/2015/10/relationships/revisionInfo" Target="revisionInfo.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notesMaster" Target="notesMasters/notesMaster1.xml"/><Relationship Id="rId40"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microsoft.com/office/2018/10/relationships/authors" Target="author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s>
</file>

<file path=ppt/charts/_rels/chart1.xml.rels><?xml version="1.0" encoding="UTF-8" standalone="yes"?>
<Relationships xmlns="http://schemas.openxmlformats.org/package/2006/relationships"><Relationship Id="rId1" Type="http://schemas.openxmlformats.org/officeDocument/2006/relationships/oleObject" Target="file:///C:\Users\efs3844\Documents\ILPQC\PVB\PVB%20Data%20Graphs%209.20.xlsx" TargetMode="External"/></Relationships>
</file>

<file path=ppt/charts/_rels/chart10.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9.xml"/><Relationship Id="rId1" Type="http://schemas.microsoft.com/office/2011/relationships/chartStyle" Target="style9.xml"/></Relationships>
</file>

<file path=ppt/charts/_rels/chart11.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0.xml"/><Relationship Id="rId1" Type="http://schemas.microsoft.com/office/2011/relationships/chartStyle" Target="style10.xml"/></Relationships>
</file>

<file path=ppt/charts/_rels/chart12.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1.xml"/><Relationship Id="rId1" Type="http://schemas.microsoft.com/office/2011/relationships/chartStyle" Target="style1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3.xml"/><Relationship Id="rId1" Type="http://schemas.microsoft.com/office/2011/relationships/chartStyle" Target="style3.xml"/></Relationships>
</file>

<file path=ppt/charts/_rels/chart5.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4.xml"/><Relationship Id="rId1" Type="http://schemas.microsoft.com/office/2011/relationships/chartStyle" Target="style4.xml"/></Relationships>
</file>

<file path=ppt/charts/_rels/chart6.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5.xml"/><Relationship Id="rId1" Type="http://schemas.microsoft.com/office/2011/relationships/chartStyle" Target="style5.xml"/></Relationships>
</file>

<file path=ppt/charts/_rels/chart7.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6.xml"/><Relationship Id="rId1" Type="http://schemas.microsoft.com/office/2011/relationships/chartStyle" Target="style6.xml"/></Relationships>
</file>

<file path=ppt/charts/_rels/chart8.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7.xml"/><Relationship Id="rId1" Type="http://schemas.microsoft.com/office/2011/relationships/chartStyle" Target="style7.xml"/></Relationships>
</file>

<file path=ppt/charts/_rels/chart9.xml.rels><?xml version="1.0" encoding="UTF-8" standalone="yes"?>
<Relationships xmlns="http://schemas.openxmlformats.org/package/2006/relationships"><Relationship Id="rId3" Type="http://schemas.openxmlformats.org/officeDocument/2006/relationships/oleObject" Target="file:///C:\Users\efs3844\Documents\ILPQC\PVB\PVB%20Data%20Graphs%209.20.xlsx" TargetMode="External"/><Relationship Id="rId2" Type="http://schemas.microsoft.com/office/2011/relationships/chartColorStyle" Target="colors8.xml"/><Relationship Id="rId1" Type="http://schemas.microsoft.com/office/2011/relationships/chartStyle" Target="style8.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mplemented provider and nurse education and other strategies to achieve buy-in</a:t>
            </a:r>
            <a:endParaRPr lang="en-US" sz="2000" b="0">
              <a:effectLst/>
            </a:endParaRPr>
          </a:p>
        </c:rich>
      </c:tx>
      <c:overlay val="0"/>
      <c:spPr>
        <a:noFill/>
        <a:ln>
          <a:noFill/>
        </a:ln>
        <a:effectLst/>
      </c:spPr>
    </c:title>
    <c:autoTitleDeleted val="0"/>
    <c:plotArea>
      <c:layout/>
      <c:barChart>
        <c:barDir val="col"/>
        <c:grouping val="percentStacked"/>
        <c:varyColors val="0"/>
        <c:ser>
          <c:idx val="0"/>
          <c:order val="0"/>
          <c:tx>
            <c:strRef>
              <c:f>'SM 1'!$A$2</c:f>
              <c:strCache>
                <c:ptCount val="1"/>
                <c:pt idx="0">
                  <c:v>In Place</c:v>
                </c:pt>
              </c:strCache>
            </c:strRef>
          </c:tx>
          <c:spPr>
            <a:solidFill>
              <a:srgbClr val="00B050"/>
            </a:solidFill>
            <a:ln>
              <a:noFill/>
            </a:ln>
            <a:effectLst/>
          </c:spPr>
          <c:invertIfNegative val="0"/>
          <c:cat>
            <c:strRef>
              <c:f>'SM 1'!$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strCache>
            </c:strRef>
          </c:cat>
          <c:val>
            <c:numRef>
              <c:f>'SM 1'!$B$2:$AA$2</c:f>
              <c:numCache>
                <c:formatCode>General</c:formatCode>
                <c:ptCount val="26"/>
                <c:pt idx="0">
                  <c:v>2.11</c:v>
                </c:pt>
                <c:pt idx="1">
                  <c:v>6.25</c:v>
                </c:pt>
                <c:pt idx="2">
                  <c:v>8.86</c:v>
                </c:pt>
                <c:pt idx="3">
                  <c:v>14.29</c:v>
                </c:pt>
                <c:pt idx="4">
                  <c:v>22.78</c:v>
                </c:pt>
                <c:pt idx="5">
                  <c:v>21.74</c:v>
                </c:pt>
                <c:pt idx="6">
                  <c:v>32.86</c:v>
                </c:pt>
                <c:pt idx="7">
                  <c:v>34.78</c:v>
                </c:pt>
                <c:pt idx="8">
                  <c:v>50</c:v>
                </c:pt>
                <c:pt idx="9">
                  <c:v>54.69</c:v>
                </c:pt>
                <c:pt idx="10">
                  <c:v>59.02</c:v>
                </c:pt>
                <c:pt idx="11">
                  <c:v>59.38</c:v>
                </c:pt>
                <c:pt idx="12">
                  <c:v>60</c:v>
                </c:pt>
                <c:pt idx="13">
                  <c:v>56.45</c:v>
                </c:pt>
                <c:pt idx="14">
                  <c:v>61.9</c:v>
                </c:pt>
                <c:pt idx="15">
                  <c:v>68.849999999999994</c:v>
                </c:pt>
                <c:pt idx="16">
                  <c:v>70</c:v>
                </c:pt>
                <c:pt idx="17">
                  <c:v>71.430000000000007</c:v>
                </c:pt>
                <c:pt idx="18">
                  <c:v>73.33</c:v>
                </c:pt>
                <c:pt idx="19">
                  <c:v>77</c:v>
                </c:pt>
                <c:pt idx="20">
                  <c:v>81</c:v>
                </c:pt>
                <c:pt idx="21">
                  <c:v>80</c:v>
                </c:pt>
                <c:pt idx="22">
                  <c:v>84</c:v>
                </c:pt>
                <c:pt idx="23">
                  <c:v>80</c:v>
                </c:pt>
                <c:pt idx="24">
                  <c:v>81</c:v>
                </c:pt>
                <c:pt idx="25">
                  <c:v>81</c:v>
                </c:pt>
              </c:numCache>
            </c:numRef>
          </c:val>
          <c:extLst>
            <c:ext xmlns:c16="http://schemas.microsoft.com/office/drawing/2014/chart" uri="{C3380CC4-5D6E-409C-BE32-E72D297353CC}">
              <c16:uniqueId val="{00000000-3A33-4A4B-B495-BF32C8586B53}"/>
            </c:ext>
          </c:extLst>
        </c:ser>
        <c:ser>
          <c:idx val="1"/>
          <c:order val="1"/>
          <c:tx>
            <c:strRef>
              <c:f>'SM 1'!$A$3</c:f>
              <c:strCache>
                <c:ptCount val="1"/>
                <c:pt idx="0">
                  <c:v>Working on it </c:v>
                </c:pt>
              </c:strCache>
            </c:strRef>
          </c:tx>
          <c:spPr>
            <a:solidFill>
              <a:srgbClr val="FFC000"/>
            </a:solidFill>
            <a:ln>
              <a:noFill/>
            </a:ln>
            <a:effectLst/>
          </c:spPr>
          <c:invertIfNegative val="0"/>
          <c:cat>
            <c:strRef>
              <c:f>'SM 1'!$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strCache>
            </c:strRef>
          </c:cat>
          <c:val>
            <c:numRef>
              <c:f>'SM 1'!$B$3:$AA$3</c:f>
              <c:numCache>
                <c:formatCode>General</c:formatCode>
                <c:ptCount val="26"/>
                <c:pt idx="0">
                  <c:v>30</c:v>
                </c:pt>
                <c:pt idx="1">
                  <c:v>58.75</c:v>
                </c:pt>
                <c:pt idx="2">
                  <c:v>70.89</c:v>
                </c:pt>
                <c:pt idx="3">
                  <c:v>72.73</c:v>
                </c:pt>
                <c:pt idx="4">
                  <c:v>68.349999999999994</c:v>
                </c:pt>
                <c:pt idx="5">
                  <c:v>73.91</c:v>
                </c:pt>
                <c:pt idx="6">
                  <c:v>64.290000000000006</c:v>
                </c:pt>
                <c:pt idx="7">
                  <c:v>63.77</c:v>
                </c:pt>
                <c:pt idx="8">
                  <c:v>50</c:v>
                </c:pt>
                <c:pt idx="9">
                  <c:v>43.75</c:v>
                </c:pt>
                <c:pt idx="10">
                  <c:v>39.340000000000003</c:v>
                </c:pt>
                <c:pt idx="11">
                  <c:v>37.5</c:v>
                </c:pt>
                <c:pt idx="12">
                  <c:v>36.67</c:v>
                </c:pt>
                <c:pt idx="13">
                  <c:v>38.71</c:v>
                </c:pt>
                <c:pt idx="14">
                  <c:v>33.33</c:v>
                </c:pt>
                <c:pt idx="15">
                  <c:v>27.59</c:v>
                </c:pt>
                <c:pt idx="16">
                  <c:v>25</c:v>
                </c:pt>
                <c:pt idx="17">
                  <c:v>23.81</c:v>
                </c:pt>
                <c:pt idx="18">
                  <c:v>26.67</c:v>
                </c:pt>
                <c:pt idx="19">
                  <c:v>23</c:v>
                </c:pt>
                <c:pt idx="20">
                  <c:v>19</c:v>
                </c:pt>
                <c:pt idx="21">
                  <c:v>20</c:v>
                </c:pt>
                <c:pt idx="22">
                  <c:v>16</c:v>
                </c:pt>
                <c:pt idx="23">
                  <c:v>20</c:v>
                </c:pt>
                <c:pt idx="24">
                  <c:v>18</c:v>
                </c:pt>
                <c:pt idx="25">
                  <c:v>16</c:v>
                </c:pt>
              </c:numCache>
            </c:numRef>
          </c:val>
          <c:extLst>
            <c:ext xmlns:c16="http://schemas.microsoft.com/office/drawing/2014/chart" uri="{C3380CC4-5D6E-409C-BE32-E72D297353CC}">
              <c16:uniqueId val="{00000001-3A33-4A4B-B495-BF32C8586B53}"/>
            </c:ext>
          </c:extLst>
        </c:ser>
        <c:ser>
          <c:idx val="2"/>
          <c:order val="2"/>
          <c:tx>
            <c:strRef>
              <c:f>'SM 1'!$A$4</c:f>
              <c:strCache>
                <c:ptCount val="1"/>
                <c:pt idx="0">
                  <c:v>Not Started</c:v>
                </c:pt>
              </c:strCache>
            </c:strRef>
          </c:tx>
          <c:spPr>
            <a:solidFill>
              <a:srgbClr val="FF0000"/>
            </a:solidFill>
            <a:ln>
              <a:noFill/>
            </a:ln>
            <a:effectLst/>
          </c:spPr>
          <c:invertIfNegative val="0"/>
          <c:cat>
            <c:strRef>
              <c:f>'SM 1'!$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22-Apr</c:v>
                </c:pt>
                <c:pt idx="17">
                  <c:v>22-May</c:v>
                </c:pt>
                <c:pt idx="18">
                  <c:v>Jun-22</c:v>
                </c:pt>
                <c:pt idx="19">
                  <c:v>22-Jul</c:v>
                </c:pt>
                <c:pt idx="20">
                  <c:v>Aug-22</c:v>
                </c:pt>
                <c:pt idx="21">
                  <c:v>Sep-22</c:v>
                </c:pt>
                <c:pt idx="22">
                  <c:v>Oct-22</c:v>
                </c:pt>
                <c:pt idx="23">
                  <c:v>Nov-22</c:v>
                </c:pt>
                <c:pt idx="24">
                  <c:v>Dec-22</c:v>
                </c:pt>
                <c:pt idx="25">
                  <c:v>Jan-23</c:v>
                </c:pt>
              </c:strCache>
            </c:strRef>
          </c:cat>
          <c:val>
            <c:numRef>
              <c:f>'SM 1'!$B$4:$AA$4</c:f>
              <c:numCache>
                <c:formatCode>General</c:formatCode>
                <c:ptCount val="26"/>
                <c:pt idx="0">
                  <c:v>67.89</c:v>
                </c:pt>
                <c:pt idx="1">
                  <c:v>35</c:v>
                </c:pt>
                <c:pt idx="2">
                  <c:v>20.25</c:v>
                </c:pt>
                <c:pt idx="3">
                  <c:v>12.97999999999999</c:v>
                </c:pt>
                <c:pt idx="4">
                  <c:v>8.8700000000000045</c:v>
                </c:pt>
                <c:pt idx="5">
                  <c:v>4.3500000000000085</c:v>
                </c:pt>
                <c:pt idx="6">
                  <c:v>2.8499999999999943</c:v>
                </c:pt>
                <c:pt idx="7">
                  <c:v>1.4499999999999886</c:v>
                </c:pt>
                <c:pt idx="8">
                  <c:v>0</c:v>
                </c:pt>
                <c:pt idx="9">
                  <c:v>1.5600000000000023</c:v>
                </c:pt>
                <c:pt idx="10">
                  <c:v>1.6399999999999864</c:v>
                </c:pt>
                <c:pt idx="11">
                  <c:v>3.1200000000000045</c:v>
                </c:pt>
                <c:pt idx="12">
                  <c:v>3.3299999999999983</c:v>
                </c:pt>
                <c:pt idx="13">
                  <c:v>4.8400000000000034</c:v>
                </c:pt>
                <c:pt idx="14">
                  <c:v>4.7700000000000102</c:v>
                </c:pt>
                <c:pt idx="15">
                  <c:v>3.5600000000000023</c:v>
                </c:pt>
                <c:pt idx="16">
                  <c:v>5</c:v>
                </c:pt>
                <c:pt idx="17">
                  <c:v>4.7599999999999909</c:v>
                </c:pt>
                <c:pt idx="18">
                  <c:v>0</c:v>
                </c:pt>
                <c:pt idx="19">
                  <c:v>0</c:v>
                </c:pt>
                <c:pt idx="20">
                  <c:v>0</c:v>
                </c:pt>
                <c:pt idx="21">
                  <c:v>0</c:v>
                </c:pt>
                <c:pt idx="22">
                  <c:v>0</c:v>
                </c:pt>
                <c:pt idx="23">
                  <c:v>0</c:v>
                </c:pt>
                <c:pt idx="24">
                  <c:v>1</c:v>
                </c:pt>
                <c:pt idx="25">
                  <c:v>3</c:v>
                </c:pt>
              </c:numCache>
            </c:numRef>
          </c:val>
          <c:extLst>
            <c:ext xmlns:c16="http://schemas.microsoft.com/office/drawing/2014/chart" uri="{C3380CC4-5D6E-409C-BE32-E72D297353CC}">
              <c16:uniqueId val="{00000002-3A33-4A4B-B495-BF32C8586B53}"/>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txPr>
    <a:bodyPr/>
    <a:lstStyle/>
    <a:p>
      <a:pPr>
        <a:defRPr/>
      </a:pPr>
      <a:endParaRPr lang="en-US"/>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1"/>
          <c:order val="1"/>
          <c:tx>
            <c:strRef>
              <c:f>'NTSV C-section Rate'!$Q$1</c:f>
              <c:strCache>
                <c:ptCount val="1"/>
                <c:pt idx="0">
                  <c:v>% of Hospitals under goal</c:v>
                </c:pt>
              </c:strCache>
            </c:strRef>
          </c:tx>
          <c:spPr>
            <a:solidFill>
              <a:srgbClr val="00B050"/>
            </a:solidFill>
            <a:ln>
              <a:noFill/>
            </a:ln>
            <a:effectLst/>
          </c:spPr>
          <c:invertIfNegative val="0"/>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Q$2:$Q$10</c:f>
              <c:numCache>
                <c:formatCode>0%</c:formatCode>
                <c:ptCount val="9"/>
                <c:pt idx="0">
                  <c:v>0.36</c:v>
                </c:pt>
                <c:pt idx="1">
                  <c:v>0.45</c:v>
                </c:pt>
                <c:pt idx="2">
                  <c:v>0.5</c:v>
                </c:pt>
                <c:pt idx="3">
                  <c:v>0.59</c:v>
                </c:pt>
                <c:pt idx="4">
                  <c:v>0.43</c:v>
                </c:pt>
                <c:pt idx="5">
                  <c:v>0.44</c:v>
                </c:pt>
                <c:pt idx="6">
                  <c:v>0.45</c:v>
                </c:pt>
                <c:pt idx="7">
                  <c:v>0.59</c:v>
                </c:pt>
                <c:pt idx="8">
                  <c:v>0.59</c:v>
                </c:pt>
              </c:numCache>
            </c:numRef>
          </c:val>
          <c:extLst>
            <c:ext xmlns:c16="http://schemas.microsoft.com/office/drawing/2014/chart" uri="{C3380CC4-5D6E-409C-BE32-E72D297353CC}">
              <c16:uniqueId val="{00000000-E627-4156-998E-7D25E0253D17}"/>
            </c:ext>
          </c:extLst>
        </c:ser>
        <c:ser>
          <c:idx val="2"/>
          <c:order val="2"/>
          <c:tx>
            <c:strRef>
              <c:f>'NTSV C-section Rate'!$R$1</c:f>
              <c:strCache>
                <c:ptCount val="1"/>
                <c:pt idx="0">
                  <c:v>% Hospitals above goal</c:v>
                </c:pt>
              </c:strCache>
            </c:strRef>
          </c:tx>
          <c:spPr>
            <a:solidFill>
              <a:srgbClr val="E74747"/>
            </a:solidFill>
            <a:ln>
              <a:noFill/>
            </a:ln>
            <a:effectLst/>
          </c:spPr>
          <c:invertIfNegative val="0"/>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R$2:$R$10</c:f>
              <c:numCache>
                <c:formatCode>0%</c:formatCode>
                <c:ptCount val="9"/>
                <c:pt idx="0">
                  <c:v>0.64</c:v>
                </c:pt>
                <c:pt idx="1">
                  <c:v>0.55000000000000004</c:v>
                </c:pt>
                <c:pt idx="2">
                  <c:v>0.5</c:v>
                </c:pt>
                <c:pt idx="3">
                  <c:v>0.41</c:v>
                </c:pt>
                <c:pt idx="4">
                  <c:v>0.56999999999999995</c:v>
                </c:pt>
                <c:pt idx="5">
                  <c:v>0.56000000000000005</c:v>
                </c:pt>
                <c:pt idx="6">
                  <c:v>0.55000000000000004</c:v>
                </c:pt>
                <c:pt idx="7">
                  <c:v>0.41</c:v>
                </c:pt>
                <c:pt idx="8">
                  <c:v>0.41</c:v>
                </c:pt>
              </c:numCache>
            </c:numRef>
          </c:val>
          <c:extLst>
            <c:ext xmlns:c16="http://schemas.microsoft.com/office/drawing/2014/chart" uri="{C3380CC4-5D6E-409C-BE32-E72D297353CC}">
              <c16:uniqueId val="{00000001-E627-4156-998E-7D25E0253D17}"/>
            </c:ext>
          </c:extLst>
        </c:ser>
        <c:dLbls>
          <c:showLegendKey val="0"/>
          <c:showVal val="0"/>
          <c:showCatName val="0"/>
          <c:showSerName val="0"/>
          <c:showPercent val="0"/>
          <c:showBubbleSize val="0"/>
        </c:dLbls>
        <c:gapWidth val="219"/>
        <c:overlap val="100"/>
        <c:axId val="1840911184"/>
        <c:axId val="1840914512"/>
      </c:barChart>
      <c:lineChart>
        <c:grouping val="standard"/>
        <c:varyColors val="0"/>
        <c:ser>
          <c:idx val="0"/>
          <c:order val="0"/>
          <c:tx>
            <c:strRef>
              <c:f>'NTSV C-section Rate'!$P$1</c:f>
              <c:strCache>
                <c:ptCount val="1"/>
                <c:pt idx="0">
                  <c:v>NTSV C-section Rate</c:v>
                </c:pt>
              </c:strCache>
            </c:strRef>
          </c:tx>
          <c:spPr>
            <a:ln w="28575" cap="rnd">
              <a:solidFill>
                <a:srgbClr val="002060"/>
              </a:solidFill>
              <a:round/>
            </a:ln>
            <a:effectLst/>
          </c:spPr>
          <c:marker>
            <c:symbol val="none"/>
          </c:marker>
          <c:dLbls>
            <c:spPr>
              <a:solidFill>
                <a:srgbClr val="002060"/>
              </a:solidFill>
              <a:ln>
                <a:noFill/>
              </a:ln>
              <a:effectLst/>
            </c:spPr>
            <c:txPr>
              <a:bodyPr rot="0" spcFirstLastPara="1" vertOverflow="ellipsis" vert="horz" wrap="square" lIns="38100" tIns="19050" rIns="38100" bIns="19050" anchor="t" anchorCtr="0">
                <a:spAutoFit/>
              </a:bodyPr>
              <a:lstStyle/>
              <a:p>
                <a:pPr>
                  <a:defRPr sz="1600" b="0" i="0" u="none" strike="noStrike" kern="1200" baseline="0">
                    <a:solidFill>
                      <a:schemeClr val="bg1"/>
                    </a:solidFill>
                    <a:latin typeface="+mn-lt"/>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NTSV C-section Rate'!$O$2:$O$10</c:f>
              <c:strCache>
                <c:ptCount val="9"/>
                <c:pt idx="0">
                  <c:v>Baseline</c:v>
                </c:pt>
                <c:pt idx="1">
                  <c:v>Q1 2021</c:v>
                </c:pt>
                <c:pt idx="2">
                  <c:v>Q2 2021</c:v>
                </c:pt>
                <c:pt idx="3">
                  <c:v>Q3 2021</c:v>
                </c:pt>
                <c:pt idx="4">
                  <c:v>Q4 2021</c:v>
                </c:pt>
                <c:pt idx="5">
                  <c:v>Q1 2022</c:v>
                </c:pt>
                <c:pt idx="6">
                  <c:v>Q2 2022</c:v>
                </c:pt>
                <c:pt idx="7">
                  <c:v>Q3 2022 </c:v>
                </c:pt>
                <c:pt idx="8">
                  <c:v>Q4 2022</c:v>
                </c:pt>
              </c:strCache>
            </c:strRef>
          </c:cat>
          <c:val>
            <c:numRef>
              <c:f>'NTSV C-section Rate'!$P$2:$P$10</c:f>
              <c:numCache>
                <c:formatCode>0.0%</c:formatCode>
                <c:ptCount val="9"/>
                <c:pt idx="0">
                  <c:v>0.249</c:v>
                </c:pt>
                <c:pt idx="1">
                  <c:v>0.249</c:v>
                </c:pt>
                <c:pt idx="2">
                  <c:v>0.24</c:v>
                </c:pt>
                <c:pt idx="3">
                  <c:v>0.23200000000000001</c:v>
                </c:pt>
                <c:pt idx="4">
                  <c:v>0.247</c:v>
                </c:pt>
                <c:pt idx="5">
                  <c:v>0.248</c:v>
                </c:pt>
                <c:pt idx="6">
                  <c:v>0.24299999999999999</c:v>
                </c:pt>
                <c:pt idx="7">
                  <c:v>0.23600000000000002</c:v>
                </c:pt>
                <c:pt idx="8" formatCode="0.00%">
                  <c:v>0.20899999999999999</c:v>
                </c:pt>
              </c:numCache>
            </c:numRef>
          </c:val>
          <c:smooth val="0"/>
          <c:extLst>
            <c:ext xmlns:c16="http://schemas.microsoft.com/office/drawing/2014/chart" uri="{C3380CC4-5D6E-409C-BE32-E72D297353CC}">
              <c16:uniqueId val="{00000002-E627-4156-998E-7D25E0253D17}"/>
            </c:ext>
          </c:extLst>
        </c:ser>
        <c:dLbls>
          <c:showLegendKey val="0"/>
          <c:showVal val="0"/>
          <c:showCatName val="0"/>
          <c:showSerName val="0"/>
          <c:showPercent val="0"/>
          <c:showBubbleSize val="0"/>
        </c:dLbls>
        <c:marker val="1"/>
        <c:smooth val="0"/>
        <c:axId val="1840911184"/>
        <c:axId val="1840914512"/>
      </c:lineChart>
      <c:catAx>
        <c:axId val="184091118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914512"/>
        <c:crosses val="autoZero"/>
        <c:auto val="1"/>
        <c:lblAlgn val="ctr"/>
        <c:lblOffset val="100"/>
        <c:noMultiLvlLbl val="0"/>
      </c:catAx>
      <c:valAx>
        <c:axId val="1840914512"/>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840911184"/>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r>
              <a:rPr lang="en-US" sz="2400"/>
              <a:t>NTSV C-Section</a:t>
            </a:r>
            <a:r>
              <a:rPr lang="en-US" sz="2400" baseline="0"/>
              <a:t> Rate by Race and Ethnicity</a:t>
            </a:r>
          </a:p>
          <a:p>
            <a:pPr>
              <a:defRPr sz="2400"/>
            </a:pPr>
            <a:r>
              <a:rPr lang="en-US" sz="2400" baseline="0"/>
              <a:t>Black vs White</a:t>
            </a:r>
            <a:endParaRPr lang="en-US" sz="2400"/>
          </a:p>
        </c:rich>
      </c:tx>
      <c:overlay val="0"/>
      <c:spPr>
        <a:noFill/>
        <a:ln>
          <a:noFill/>
        </a:ln>
        <a:effectLst/>
      </c:spPr>
      <c:txPr>
        <a:bodyPr rot="0" spcFirstLastPara="1" vertOverflow="ellipsis" vert="horz" wrap="square" anchor="ctr" anchorCtr="1"/>
        <a:lstStyle/>
        <a:p>
          <a:pPr>
            <a:defRPr sz="2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3812419335595487E-2"/>
          <c:y val="0.22644539365921779"/>
          <c:w val="0.93806846280150458"/>
          <c:h val="0.56287833984090763"/>
        </c:manualLayout>
      </c:layout>
      <c:lineChart>
        <c:grouping val="standard"/>
        <c:varyColors val="0"/>
        <c:ser>
          <c:idx val="0"/>
          <c:order val="0"/>
          <c:tx>
            <c:strRef>
              <c:f>RE!$A$2</c:f>
              <c:strCache>
                <c:ptCount val="1"/>
                <c:pt idx="0">
                  <c:v>Black</c:v>
                </c:pt>
              </c:strCache>
            </c:strRef>
          </c:tx>
          <c:spPr>
            <a:ln w="53975" cap="rnd">
              <a:solidFill>
                <a:srgbClr val="FF3399"/>
              </a:solidFill>
              <a:round/>
            </a:ln>
            <a:effectLst/>
          </c:spPr>
          <c:marker>
            <c:symbol val="circle"/>
            <c:size val="5"/>
            <c:spPr>
              <a:solidFill>
                <a:srgbClr val="FF3399"/>
              </a:solidFill>
              <a:ln w="9525">
                <a:noFill/>
              </a:ln>
              <a:effectLst/>
            </c:spPr>
          </c:marker>
          <c:cat>
            <c:strRef>
              <c:f>RE!$B$1:$J$1</c:f>
              <c:strCache>
                <c:ptCount val="9"/>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54 Teams)</c:v>
                </c:pt>
              </c:strCache>
            </c:strRef>
          </c:cat>
          <c:val>
            <c:numRef>
              <c:f>RE!$B$2:$J$2</c:f>
              <c:numCache>
                <c:formatCode>0%</c:formatCode>
                <c:ptCount val="9"/>
                <c:pt idx="0">
                  <c:v>0.30745814307458141</c:v>
                </c:pt>
                <c:pt idx="1">
                  <c:v>0.33</c:v>
                </c:pt>
                <c:pt idx="2">
                  <c:v>0.23</c:v>
                </c:pt>
                <c:pt idx="3">
                  <c:v>0.28999999999999998</c:v>
                </c:pt>
                <c:pt idx="4">
                  <c:v>0.27</c:v>
                </c:pt>
                <c:pt idx="5">
                  <c:v>0.28999999999999998</c:v>
                </c:pt>
                <c:pt idx="6">
                  <c:v>0.28999999999999998</c:v>
                </c:pt>
                <c:pt idx="7">
                  <c:v>0.23</c:v>
                </c:pt>
                <c:pt idx="8">
                  <c:v>0.25</c:v>
                </c:pt>
              </c:numCache>
            </c:numRef>
          </c:val>
          <c:smooth val="0"/>
          <c:extLst>
            <c:ext xmlns:c16="http://schemas.microsoft.com/office/drawing/2014/chart" uri="{C3380CC4-5D6E-409C-BE32-E72D297353CC}">
              <c16:uniqueId val="{00000000-C173-40E3-9110-5C6EFF7E7F87}"/>
            </c:ext>
          </c:extLst>
        </c:ser>
        <c:ser>
          <c:idx val="1"/>
          <c:order val="1"/>
          <c:tx>
            <c:strRef>
              <c:f>RE!$A$3</c:f>
              <c:strCache>
                <c:ptCount val="1"/>
                <c:pt idx="0">
                  <c:v>White </c:v>
                </c:pt>
              </c:strCache>
            </c:strRef>
          </c:tx>
          <c:spPr>
            <a:ln w="47625" cap="rnd">
              <a:solidFill>
                <a:schemeClr val="accent1"/>
              </a:solidFill>
              <a:round/>
            </a:ln>
            <a:effectLst/>
          </c:spPr>
          <c:marker>
            <c:symbol val="circle"/>
            <c:size val="5"/>
            <c:spPr>
              <a:solidFill>
                <a:schemeClr val="accent1"/>
              </a:solidFill>
              <a:ln w="9525">
                <a:noFill/>
              </a:ln>
              <a:effectLst/>
            </c:spPr>
          </c:marker>
          <c:cat>
            <c:strRef>
              <c:f>RE!$B$1:$J$1</c:f>
              <c:strCache>
                <c:ptCount val="9"/>
                <c:pt idx="0">
                  <c:v>Baseline 
(29 Teams)</c:v>
                </c:pt>
                <c:pt idx="1">
                  <c:v>Q1 2021
 (40 teams)</c:v>
                </c:pt>
                <c:pt idx="2">
                  <c:v>Q2 2021
 (40 Teams)</c:v>
                </c:pt>
                <c:pt idx="3">
                  <c:v>Q3 2021 
(40 teams)</c:v>
                </c:pt>
                <c:pt idx="4">
                  <c:v>Q4 2021 
(40 teams)</c:v>
                </c:pt>
                <c:pt idx="5">
                  <c:v>Q1 2022
 (50 teams)</c:v>
                </c:pt>
                <c:pt idx="6">
                  <c:v>Q2 2022 
(64 Teams)</c:v>
                </c:pt>
                <c:pt idx="7">
                  <c:v>Q3 2022 
(62 Teams)</c:v>
                </c:pt>
                <c:pt idx="8">
                  <c:v>Q4 2022 (54 Teams)</c:v>
                </c:pt>
              </c:strCache>
            </c:strRef>
          </c:cat>
          <c:val>
            <c:numRef>
              <c:f>RE!$B$3:$J$3</c:f>
              <c:numCache>
                <c:formatCode>0%</c:formatCode>
                <c:ptCount val="9"/>
                <c:pt idx="0">
                  <c:v>0.25</c:v>
                </c:pt>
                <c:pt idx="1">
                  <c:v>0.25</c:v>
                </c:pt>
                <c:pt idx="2">
                  <c:v>0.25</c:v>
                </c:pt>
                <c:pt idx="3">
                  <c:v>0.24</c:v>
                </c:pt>
                <c:pt idx="4">
                  <c:v>0.25</c:v>
                </c:pt>
                <c:pt idx="5">
                  <c:v>0.25</c:v>
                </c:pt>
                <c:pt idx="6">
                  <c:v>0.24</c:v>
                </c:pt>
                <c:pt idx="7">
                  <c:v>0.25</c:v>
                </c:pt>
                <c:pt idx="8">
                  <c:v>0.24</c:v>
                </c:pt>
              </c:numCache>
            </c:numRef>
          </c:val>
          <c:smooth val="0"/>
          <c:extLst>
            <c:ext xmlns:c16="http://schemas.microsoft.com/office/drawing/2014/chart" uri="{C3380CC4-5D6E-409C-BE32-E72D297353CC}">
              <c16:uniqueId val="{00000001-C173-40E3-9110-5C6EFF7E7F87}"/>
            </c:ext>
          </c:extLst>
        </c:ser>
        <c:dLbls>
          <c:showLegendKey val="0"/>
          <c:showVal val="0"/>
          <c:showCatName val="0"/>
          <c:showSerName val="0"/>
          <c:showPercent val="0"/>
          <c:showBubbleSize val="0"/>
        </c:dLbls>
        <c:marker val="1"/>
        <c:smooth val="0"/>
        <c:axId val="1594960864"/>
        <c:axId val="1594957952"/>
      </c:lineChart>
      <c:catAx>
        <c:axId val="15949608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mn-lt"/>
                <a:ea typeface="+mn-ea"/>
                <a:cs typeface="+mn-cs"/>
              </a:defRPr>
            </a:pPr>
            <a:endParaRPr lang="en-US"/>
          </a:p>
        </c:txPr>
        <c:crossAx val="1594957952"/>
        <c:crosses val="autoZero"/>
        <c:auto val="1"/>
        <c:lblAlgn val="ctr"/>
        <c:lblOffset val="100"/>
        <c:noMultiLvlLbl val="0"/>
      </c:catAx>
      <c:valAx>
        <c:axId val="1594957952"/>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594960864"/>
        <c:crosses val="autoZero"/>
        <c:crossBetween val="between"/>
      </c:valAx>
      <c:spPr>
        <a:noFill/>
        <a:ln>
          <a:noFill/>
        </a:ln>
        <a:effectLst/>
      </c:spPr>
    </c:plotArea>
    <c:legend>
      <c:legendPos val="b"/>
      <c:layout>
        <c:manualLayout>
          <c:xMode val="edge"/>
          <c:yMode val="edge"/>
          <c:x val="0.38857072439198859"/>
          <c:y val="0.93017375378146316"/>
          <c:w val="0.22285846204713575"/>
          <c:h val="6.9826246218536836E-2"/>
        </c:manualLayout>
      </c:layout>
      <c:overlay val="0"/>
      <c:spPr>
        <a:noFill/>
        <a:ln>
          <a:noFill/>
        </a:ln>
        <a:effectLst/>
      </c:spPr>
      <c:txPr>
        <a:bodyPr rot="0" spcFirstLastPara="1" vertOverflow="ellipsis" vert="horz" wrap="square" anchor="ctr" anchorCtr="1"/>
        <a:lstStyle/>
        <a:p>
          <a:pPr>
            <a:defRPr sz="24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s Meeting ACOG/SMFM Criteria</a:t>
            </a:r>
            <a:r>
              <a:rPr lang="en-US" sz="2000" baseline="0"/>
              <a:t> </a:t>
            </a:r>
          </a:p>
          <a:p>
            <a:pPr>
              <a:defRPr sz="2000"/>
            </a:pPr>
            <a:r>
              <a:rPr lang="en-US" sz="2000" baseline="0"/>
              <a:t>by Stage of Labor</a:t>
            </a:r>
            <a:endParaRPr lang="en-US"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lineChart>
        <c:grouping val="standard"/>
        <c:varyColors val="0"/>
        <c:ser>
          <c:idx val="0"/>
          <c:order val="0"/>
          <c:tx>
            <c:strRef>
              <c:f>'ACOG.SMFM '!$K$15</c:f>
              <c:strCache>
                <c:ptCount val="1"/>
                <c:pt idx="0">
                  <c:v>Failed Induction</c:v>
                </c:pt>
              </c:strCache>
            </c:strRef>
          </c:tx>
          <c:spPr>
            <a:ln w="28575" cap="rnd">
              <a:solidFill>
                <a:schemeClr val="accent1"/>
              </a:solidFill>
              <a:round/>
            </a:ln>
            <a:effectLst/>
          </c:spPr>
          <c:marker>
            <c:symbol val="none"/>
          </c:marker>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5:$T$15</c:f>
              <c:numCache>
                <c:formatCode>0%</c:formatCode>
                <c:ptCount val="9"/>
                <c:pt idx="0">
                  <c:v>0.35</c:v>
                </c:pt>
                <c:pt idx="1">
                  <c:v>0.39</c:v>
                </c:pt>
                <c:pt idx="2">
                  <c:v>0.39</c:v>
                </c:pt>
                <c:pt idx="3">
                  <c:v>0.36</c:v>
                </c:pt>
                <c:pt idx="4">
                  <c:v>0.42</c:v>
                </c:pt>
                <c:pt idx="5">
                  <c:v>0.45</c:v>
                </c:pt>
                <c:pt idx="6">
                  <c:v>0.4</c:v>
                </c:pt>
                <c:pt idx="7">
                  <c:v>0.45</c:v>
                </c:pt>
                <c:pt idx="8">
                  <c:v>0.42</c:v>
                </c:pt>
              </c:numCache>
            </c:numRef>
          </c:val>
          <c:smooth val="0"/>
          <c:extLst>
            <c:ext xmlns:c16="http://schemas.microsoft.com/office/drawing/2014/chart" uri="{C3380CC4-5D6E-409C-BE32-E72D297353CC}">
              <c16:uniqueId val="{00000000-C5A4-4EE7-BCAE-23AB78660EB2}"/>
            </c:ext>
          </c:extLst>
        </c:ser>
        <c:ser>
          <c:idx val="1"/>
          <c:order val="1"/>
          <c:tx>
            <c:strRef>
              <c:f>'ACOG.SMFM '!$K$16</c:f>
              <c:strCache>
                <c:ptCount val="1"/>
                <c:pt idx="0">
                  <c:v>Active Stage Arrest</c:v>
                </c:pt>
              </c:strCache>
            </c:strRef>
          </c:tx>
          <c:spPr>
            <a:ln w="28575" cap="rnd">
              <a:solidFill>
                <a:srgbClr val="FF3399"/>
              </a:solidFill>
              <a:round/>
            </a:ln>
            <a:effectLst/>
          </c:spPr>
          <c:marker>
            <c:symbol val="none"/>
          </c:marker>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6:$T$16</c:f>
              <c:numCache>
                <c:formatCode>0%</c:formatCode>
                <c:ptCount val="9"/>
                <c:pt idx="0">
                  <c:v>0.69</c:v>
                </c:pt>
                <c:pt idx="1">
                  <c:v>0.77</c:v>
                </c:pt>
                <c:pt idx="2">
                  <c:v>0.79</c:v>
                </c:pt>
                <c:pt idx="3">
                  <c:v>0.8</c:v>
                </c:pt>
                <c:pt idx="4">
                  <c:v>0.73</c:v>
                </c:pt>
                <c:pt idx="5">
                  <c:v>0.85</c:v>
                </c:pt>
                <c:pt idx="6">
                  <c:v>0.79</c:v>
                </c:pt>
                <c:pt idx="7">
                  <c:v>0.81</c:v>
                </c:pt>
                <c:pt idx="8">
                  <c:v>0.82</c:v>
                </c:pt>
              </c:numCache>
            </c:numRef>
          </c:val>
          <c:smooth val="0"/>
          <c:extLst>
            <c:ext xmlns:c16="http://schemas.microsoft.com/office/drawing/2014/chart" uri="{C3380CC4-5D6E-409C-BE32-E72D297353CC}">
              <c16:uniqueId val="{00000001-C5A4-4EE7-BCAE-23AB78660EB2}"/>
            </c:ext>
          </c:extLst>
        </c:ser>
        <c:ser>
          <c:idx val="2"/>
          <c:order val="2"/>
          <c:tx>
            <c:strRef>
              <c:f>'ACOG.SMFM '!$K$17</c:f>
              <c:strCache>
                <c:ptCount val="1"/>
                <c:pt idx="0">
                  <c:v>Second Stage Arrest</c:v>
                </c:pt>
              </c:strCache>
            </c:strRef>
          </c:tx>
          <c:spPr>
            <a:ln w="28575" cap="rnd">
              <a:solidFill>
                <a:srgbClr val="F08888"/>
              </a:solidFill>
              <a:round/>
            </a:ln>
            <a:effectLst/>
          </c:spPr>
          <c:marker>
            <c:symbol val="none"/>
          </c:marker>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7:$T$17</c:f>
              <c:numCache>
                <c:formatCode>0%</c:formatCode>
                <c:ptCount val="9"/>
                <c:pt idx="0">
                  <c:v>0.35</c:v>
                </c:pt>
                <c:pt idx="1">
                  <c:v>0.47</c:v>
                </c:pt>
                <c:pt idx="2">
                  <c:v>0.47</c:v>
                </c:pt>
                <c:pt idx="3">
                  <c:v>0.49</c:v>
                </c:pt>
                <c:pt idx="4">
                  <c:v>0.56999999999999995</c:v>
                </c:pt>
                <c:pt idx="5">
                  <c:v>0.56000000000000005</c:v>
                </c:pt>
                <c:pt idx="6">
                  <c:v>0.54</c:v>
                </c:pt>
                <c:pt idx="7">
                  <c:v>0.65</c:v>
                </c:pt>
                <c:pt idx="8">
                  <c:v>0.57999999999999996</c:v>
                </c:pt>
              </c:numCache>
            </c:numRef>
          </c:val>
          <c:smooth val="0"/>
          <c:extLst>
            <c:ext xmlns:c16="http://schemas.microsoft.com/office/drawing/2014/chart" uri="{C3380CC4-5D6E-409C-BE32-E72D297353CC}">
              <c16:uniqueId val="{00000002-C5A4-4EE7-BCAE-23AB78660EB2}"/>
            </c:ext>
          </c:extLst>
        </c:ser>
        <c:ser>
          <c:idx val="3"/>
          <c:order val="3"/>
          <c:tx>
            <c:strRef>
              <c:f>'ACOG.SMFM '!$K$18</c:f>
              <c:strCache>
                <c:ptCount val="1"/>
                <c:pt idx="0">
                  <c:v>Total NTSV C-Sections</c:v>
                </c:pt>
              </c:strCache>
            </c:strRef>
          </c:tx>
          <c:spPr>
            <a:ln w="38100" cap="rnd">
              <a:solidFill>
                <a:srgbClr val="002060"/>
              </a:solidFill>
              <a:round/>
            </a:ln>
            <a:effectLst/>
          </c:spPr>
          <c:marker>
            <c:symbol val="none"/>
          </c:marker>
          <c:cat>
            <c:strRef>
              <c:f>'ACOG.SMFM '!$L$14:$T$14</c:f>
              <c:strCache>
                <c:ptCount val="9"/>
                <c:pt idx="0">
                  <c:v>Baseline</c:v>
                </c:pt>
                <c:pt idx="1">
                  <c:v>Quarter 1 2021</c:v>
                </c:pt>
                <c:pt idx="2">
                  <c:v>Quarter 2 2021</c:v>
                </c:pt>
                <c:pt idx="3">
                  <c:v>Quarter 3 2021</c:v>
                </c:pt>
                <c:pt idx="4">
                  <c:v>Quarter 4 2021</c:v>
                </c:pt>
                <c:pt idx="5">
                  <c:v>Quarter 1 2022</c:v>
                </c:pt>
                <c:pt idx="6">
                  <c:v>Quarter 2 2022</c:v>
                </c:pt>
                <c:pt idx="7">
                  <c:v>Quarter 3 2022 </c:v>
                </c:pt>
                <c:pt idx="8">
                  <c:v>Quarter 4 2022</c:v>
                </c:pt>
              </c:strCache>
            </c:strRef>
          </c:cat>
          <c:val>
            <c:numRef>
              <c:f>'ACOG.SMFM '!$L$18:$T$18</c:f>
              <c:numCache>
                <c:formatCode>0%</c:formatCode>
                <c:ptCount val="9"/>
                <c:pt idx="0">
                  <c:v>0.6</c:v>
                </c:pt>
                <c:pt idx="1">
                  <c:v>0.62</c:v>
                </c:pt>
                <c:pt idx="2">
                  <c:v>0.64</c:v>
                </c:pt>
                <c:pt idx="3">
                  <c:v>0.63</c:v>
                </c:pt>
                <c:pt idx="4">
                  <c:v>0.67</c:v>
                </c:pt>
                <c:pt idx="5">
                  <c:v>0.66</c:v>
                </c:pt>
                <c:pt idx="6">
                  <c:v>0.63</c:v>
                </c:pt>
                <c:pt idx="7">
                  <c:v>0.67</c:v>
                </c:pt>
                <c:pt idx="8">
                  <c:v>0.64</c:v>
                </c:pt>
              </c:numCache>
            </c:numRef>
          </c:val>
          <c:smooth val="0"/>
          <c:extLst>
            <c:ext xmlns:c16="http://schemas.microsoft.com/office/drawing/2014/chart" uri="{C3380CC4-5D6E-409C-BE32-E72D297353CC}">
              <c16:uniqueId val="{00000003-C5A4-4EE7-BCAE-23AB78660EB2}"/>
            </c:ext>
          </c:extLst>
        </c:ser>
        <c:dLbls>
          <c:showLegendKey val="0"/>
          <c:showVal val="0"/>
          <c:showCatName val="0"/>
          <c:showSerName val="0"/>
          <c:showPercent val="0"/>
          <c:showBubbleSize val="0"/>
        </c:dLbls>
        <c:smooth val="0"/>
        <c:axId val="1594953376"/>
        <c:axId val="1594933824"/>
      </c:lineChart>
      <c:catAx>
        <c:axId val="1594953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594933824"/>
        <c:crosses val="autoZero"/>
        <c:auto val="1"/>
        <c:lblAlgn val="ctr"/>
        <c:lblOffset val="100"/>
        <c:noMultiLvlLbl val="0"/>
      </c:catAx>
      <c:valAx>
        <c:axId val="1594933824"/>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594953376"/>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mplemented standardized protocol/processes for induction, labor support management and response to labor and fetal heart rate abnormalities</a:t>
            </a:r>
            <a:endParaRPr lang="en-US" sz="2000" b="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tx>
            <c:strRef>
              <c:f>'SM 2'!$A$2</c:f>
              <c:strCache>
                <c:ptCount val="1"/>
                <c:pt idx="0">
                  <c:v>In Place</c:v>
                </c:pt>
              </c:strCache>
            </c:strRef>
          </c:tx>
          <c:spPr>
            <a:solidFill>
              <a:srgbClr val="00B050"/>
            </a:solidFill>
            <a:ln>
              <a:noFill/>
            </a:ln>
            <a:effectLst/>
          </c:spPr>
          <c:invertIfNegative val="0"/>
          <c:cat>
            <c:strRef>
              <c:f>'SM 2'!$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strCache>
            </c:strRef>
          </c:cat>
          <c:val>
            <c:numRef>
              <c:f>'SM 2'!$B$2:$AA$2</c:f>
              <c:numCache>
                <c:formatCode>General</c:formatCode>
                <c:ptCount val="26"/>
                <c:pt idx="0">
                  <c:v>16.850000000000001</c:v>
                </c:pt>
                <c:pt idx="1">
                  <c:v>13.75</c:v>
                </c:pt>
                <c:pt idx="2">
                  <c:v>16.46</c:v>
                </c:pt>
                <c:pt idx="3">
                  <c:v>15.58</c:v>
                </c:pt>
                <c:pt idx="4">
                  <c:v>20.25</c:v>
                </c:pt>
                <c:pt idx="5">
                  <c:v>26.47</c:v>
                </c:pt>
                <c:pt idx="6">
                  <c:v>30</c:v>
                </c:pt>
                <c:pt idx="7">
                  <c:v>26.47</c:v>
                </c:pt>
                <c:pt idx="8">
                  <c:v>33.33</c:v>
                </c:pt>
                <c:pt idx="9">
                  <c:v>38.46</c:v>
                </c:pt>
                <c:pt idx="10">
                  <c:v>36.07</c:v>
                </c:pt>
                <c:pt idx="11">
                  <c:v>34.380000000000003</c:v>
                </c:pt>
                <c:pt idx="12">
                  <c:v>40</c:v>
                </c:pt>
                <c:pt idx="13">
                  <c:v>36.07</c:v>
                </c:pt>
                <c:pt idx="14">
                  <c:v>42.86</c:v>
                </c:pt>
                <c:pt idx="15">
                  <c:v>55.74</c:v>
                </c:pt>
                <c:pt idx="16">
                  <c:v>60</c:v>
                </c:pt>
                <c:pt idx="17">
                  <c:v>60.32</c:v>
                </c:pt>
                <c:pt idx="18">
                  <c:v>76.67</c:v>
                </c:pt>
                <c:pt idx="19">
                  <c:v>80</c:v>
                </c:pt>
                <c:pt idx="20">
                  <c:v>81.819999999999993</c:v>
                </c:pt>
                <c:pt idx="21">
                  <c:v>82</c:v>
                </c:pt>
                <c:pt idx="22">
                  <c:v>85</c:v>
                </c:pt>
                <c:pt idx="23">
                  <c:v>78</c:v>
                </c:pt>
                <c:pt idx="24">
                  <c:v>82</c:v>
                </c:pt>
                <c:pt idx="25">
                  <c:v>88</c:v>
                </c:pt>
              </c:numCache>
            </c:numRef>
          </c:val>
          <c:extLst>
            <c:ext xmlns:c16="http://schemas.microsoft.com/office/drawing/2014/chart" uri="{C3380CC4-5D6E-409C-BE32-E72D297353CC}">
              <c16:uniqueId val="{00000000-BE46-4D03-B139-DEBD7139C84B}"/>
            </c:ext>
          </c:extLst>
        </c:ser>
        <c:ser>
          <c:idx val="1"/>
          <c:order val="1"/>
          <c:tx>
            <c:strRef>
              <c:f>'SM 2'!$A$3</c:f>
              <c:strCache>
                <c:ptCount val="1"/>
                <c:pt idx="0">
                  <c:v>Working on it </c:v>
                </c:pt>
              </c:strCache>
            </c:strRef>
          </c:tx>
          <c:spPr>
            <a:solidFill>
              <a:srgbClr val="FFC000"/>
            </a:solidFill>
            <a:ln>
              <a:noFill/>
            </a:ln>
            <a:effectLst/>
          </c:spPr>
          <c:invertIfNegative val="0"/>
          <c:cat>
            <c:strRef>
              <c:f>'SM 2'!$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strCache>
            </c:strRef>
          </c:cat>
          <c:val>
            <c:numRef>
              <c:f>'SM 2'!$B$3:$AA$3</c:f>
              <c:numCache>
                <c:formatCode>General</c:formatCode>
                <c:ptCount val="26"/>
                <c:pt idx="0">
                  <c:v>20.22</c:v>
                </c:pt>
                <c:pt idx="1">
                  <c:v>40</c:v>
                </c:pt>
                <c:pt idx="2">
                  <c:v>49.37</c:v>
                </c:pt>
                <c:pt idx="3">
                  <c:v>63.64</c:v>
                </c:pt>
                <c:pt idx="4">
                  <c:v>64.56</c:v>
                </c:pt>
                <c:pt idx="5">
                  <c:v>61.76</c:v>
                </c:pt>
                <c:pt idx="6">
                  <c:v>60</c:v>
                </c:pt>
                <c:pt idx="7">
                  <c:v>63.24</c:v>
                </c:pt>
                <c:pt idx="8">
                  <c:v>62.12</c:v>
                </c:pt>
                <c:pt idx="9">
                  <c:v>55.38</c:v>
                </c:pt>
                <c:pt idx="10">
                  <c:v>59.02</c:v>
                </c:pt>
                <c:pt idx="11">
                  <c:v>59.38</c:v>
                </c:pt>
                <c:pt idx="12">
                  <c:v>53.33</c:v>
                </c:pt>
                <c:pt idx="13">
                  <c:v>57.38</c:v>
                </c:pt>
                <c:pt idx="14">
                  <c:v>47.62</c:v>
                </c:pt>
                <c:pt idx="15">
                  <c:v>34.43</c:v>
                </c:pt>
                <c:pt idx="16">
                  <c:v>31.67</c:v>
                </c:pt>
                <c:pt idx="17">
                  <c:v>31.75</c:v>
                </c:pt>
                <c:pt idx="18">
                  <c:v>18.329999999999998</c:v>
                </c:pt>
                <c:pt idx="19">
                  <c:v>16.670000000000002</c:v>
                </c:pt>
                <c:pt idx="20">
                  <c:v>14.55</c:v>
                </c:pt>
                <c:pt idx="21">
                  <c:v>15</c:v>
                </c:pt>
                <c:pt idx="22">
                  <c:v>13</c:v>
                </c:pt>
                <c:pt idx="23">
                  <c:v>18</c:v>
                </c:pt>
                <c:pt idx="24">
                  <c:v>14</c:v>
                </c:pt>
                <c:pt idx="25">
                  <c:v>9</c:v>
                </c:pt>
              </c:numCache>
            </c:numRef>
          </c:val>
          <c:extLst>
            <c:ext xmlns:c16="http://schemas.microsoft.com/office/drawing/2014/chart" uri="{C3380CC4-5D6E-409C-BE32-E72D297353CC}">
              <c16:uniqueId val="{00000001-BE46-4D03-B139-DEBD7139C84B}"/>
            </c:ext>
          </c:extLst>
        </c:ser>
        <c:ser>
          <c:idx val="2"/>
          <c:order val="2"/>
          <c:tx>
            <c:strRef>
              <c:f>'SM 2'!$A$4</c:f>
              <c:strCache>
                <c:ptCount val="1"/>
                <c:pt idx="0">
                  <c:v>Not Started</c:v>
                </c:pt>
              </c:strCache>
            </c:strRef>
          </c:tx>
          <c:spPr>
            <a:solidFill>
              <a:srgbClr val="FF0000"/>
            </a:solidFill>
            <a:ln>
              <a:noFill/>
            </a:ln>
            <a:effectLst/>
          </c:spPr>
          <c:invertIfNegative val="0"/>
          <c:cat>
            <c:strRef>
              <c:f>'SM 2'!$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22-Jul</c:v>
                </c:pt>
                <c:pt idx="20">
                  <c:v>Aug-22</c:v>
                </c:pt>
                <c:pt idx="21">
                  <c:v>Sep-22</c:v>
                </c:pt>
                <c:pt idx="22">
                  <c:v>Oct-22</c:v>
                </c:pt>
                <c:pt idx="23">
                  <c:v>Nov-22</c:v>
                </c:pt>
                <c:pt idx="24">
                  <c:v>Dec-22</c:v>
                </c:pt>
                <c:pt idx="25">
                  <c:v>Jan-23</c:v>
                </c:pt>
              </c:strCache>
            </c:strRef>
          </c:cat>
          <c:val>
            <c:numRef>
              <c:f>'SM 2'!$B$4:$AA$4</c:f>
              <c:numCache>
                <c:formatCode>General</c:formatCode>
                <c:ptCount val="26"/>
                <c:pt idx="0">
                  <c:v>62.93</c:v>
                </c:pt>
                <c:pt idx="1">
                  <c:v>46.25</c:v>
                </c:pt>
                <c:pt idx="2">
                  <c:v>34.17</c:v>
                </c:pt>
                <c:pt idx="3">
                  <c:v>20.78</c:v>
                </c:pt>
                <c:pt idx="4">
                  <c:v>15.189999999999998</c:v>
                </c:pt>
                <c:pt idx="5">
                  <c:v>11.77000000000001</c:v>
                </c:pt>
                <c:pt idx="6">
                  <c:v>10</c:v>
                </c:pt>
                <c:pt idx="7">
                  <c:v>10.289999999999992</c:v>
                </c:pt>
                <c:pt idx="8">
                  <c:v>4.5500000000000114</c:v>
                </c:pt>
                <c:pt idx="9">
                  <c:v>6.1599999999999966</c:v>
                </c:pt>
                <c:pt idx="10">
                  <c:v>4.9099999999999966</c:v>
                </c:pt>
                <c:pt idx="11">
                  <c:v>6.2399999999999949</c:v>
                </c:pt>
                <c:pt idx="12">
                  <c:v>6.6700000000000017</c:v>
                </c:pt>
                <c:pt idx="13">
                  <c:v>6.5499999999999972</c:v>
                </c:pt>
                <c:pt idx="14">
                  <c:v>9.5200000000000102</c:v>
                </c:pt>
                <c:pt idx="15">
                  <c:v>9.8299999999999983</c:v>
                </c:pt>
                <c:pt idx="16">
                  <c:v>8.3299999999999983</c:v>
                </c:pt>
                <c:pt idx="17">
                  <c:v>7.9300000000000068</c:v>
                </c:pt>
                <c:pt idx="18">
                  <c:v>5</c:v>
                </c:pt>
                <c:pt idx="19">
                  <c:v>3.3299999999999983</c:v>
                </c:pt>
                <c:pt idx="20">
                  <c:v>3.6300000000000097</c:v>
                </c:pt>
                <c:pt idx="21">
                  <c:v>3</c:v>
                </c:pt>
                <c:pt idx="22">
                  <c:v>2</c:v>
                </c:pt>
                <c:pt idx="23">
                  <c:v>4</c:v>
                </c:pt>
                <c:pt idx="24">
                  <c:v>4</c:v>
                </c:pt>
                <c:pt idx="25">
                  <c:v>3</c:v>
                </c:pt>
              </c:numCache>
            </c:numRef>
          </c:val>
          <c:extLst>
            <c:ext xmlns:c16="http://schemas.microsoft.com/office/drawing/2014/chart" uri="{C3380CC4-5D6E-409C-BE32-E72D297353CC}">
              <c16:uniqueId val="{00000002-BE46-4D03-B139-DEBD7139C84B}"/>
            </c:ext>
          </c:extLst>
        </c:ser>
        <c:dLbls>
          <c:showLegendKey val="0"/>
          <c:showVal val="0"/>
          <c:showCatName val="0"/>
          <c:showSerName val="0"/>
          <c:showPercent val="0"/>
          <c:showBubbleSize val="0"/>
        </c:dLbls>
        <c:gapWidth val="150"/>
        <c:overlap val="100"/>
        <c:axId val="241911872"/>
        <c:axId val="241913120"/>
      </c:barChart>
      <c:catAx>
        <c:axId val="241911872"/>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41913120"/>
        <c:crosses val="autoZero"/>
        <c:auto val="1"/>
        <c:lblAlgn val="ctr"/>
        <c:lblOffset val="100"/>
        <c:noMultiLvlLbl val="0"/>
      </c:catAx>
      <c:valAx>
        <c:axId val="241913120"/>
        <c:scaling>
          <c:orientation val="minMax"/>
          <c:max val="1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41911872"/>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b="0" i="0" u="none" strike="noStrike" baseline="0">
                <a:effectLst/>
              </a:rPr>
              <a:t>Integrated process to review and share data that includes provider-level data with labor and delivery clinical teams</a:t>
            </a:r>
            <a:endParaRPr lang="en-US" sz="2000" b="0">
              <a:effectLst/>
            </a:endParaRP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8'!$A$2</c:f>
              <c:strCache>
                <c:ptCount val="1"/>
                <c:pt idx="0">
                  <c:v>In Place</c:v>
                </c:pt>
              </c:strCache>
            </c:strRef>
          </c:tx>
          <c:spPr>
            <a:solidFill>
              <a:srgbClr val="00B050"/>
            </a:solidFill>
            <a:ln>
              <a:noFill/>
            </a:ln>
            <a:effectLst/>
          </c:spPr>
          <c:invertIfNegative val="0"/>
          <c:cat>
            <c:strRef>
              <c:f>'SM 8'!$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8'!$B$2:$AA$2</c:f>
              <c:numCache>
                <c:formatCode>General</c:formatCode>
                <c:ptCount val="26"/>
                <c:pt idx="0">
                  <c:v>4.76</c:v>
                </c:pt>
                <c:pt idx="1">
                  <c:v>7.23</c:v>
                </c:pt>
                <c:pt idx="2">
                  <c:v>8.86</c:v>
                </c:pt>
                <c:pt idx="3">
                  <c:v>20.78</c:v>
                </c:pt>
                <c:pt idx="4">
                  <c:v>26.92</c:v>
                </c:pt>
                <c:pt idx="5">
                  <c:v>26.09</c:v>
                </c:pt>
                <c:pt idx="6">
                  <c:v>28.57</c:v>
                </c:pt>
                <c:pt idx="7">
                  <c:v>37.31</c:v>
                </c:pt>
                <c:pt idx="8">
                  <c:v>42.42</c:v>
                </c:pt>
                <c:pt idx="9">
                  <c:v>49.21</c:v>
                </c:pt>
                <c:pt idx="10">
                  <c:v>50.82</c:v>
                </c:pt>
                <c:pt idx="11">
                  <c:v>51.56</c:v>
                </c:pt>
                <c:pt idx="12">
                  <c:v>51.67</c:v>
                </c:pt>
                <c:pt idx="13">
                  <c:v>53.23</c:v>
                </c:pt>
                <c:pt idx="14">
                  <c:v>57.14</c:v>
                </c:pt>
                <c:pt idx="15">
                  <c:v>60.66</c:v>
                </c:pt>
                <c:pt idx="16">
                  <c:v>65</c:v>
                </c:pt>
                <c:pt idx="17">
                  <c:v>65.569999999999993</c:v>
                </c:pt>
                <c:pt idx="18">
                  <c:v>72.88</c:v>
                </c:pt>
                <c:pt idx="19">
                  <c:v>70</c:v>
                </c:pt>
                <c:pt idx="20">
                  <c:v>76.36</c:v>
                </c:pt>
                <c:pt idx="21">
                  <c:v>78</c:v>
                </c:pt>
                <c:pt idx="22">
                  <c:v>78</c:v>
                </c:pt>
                <c:pt idx="23">
                  <c:v>71</c:v>
                </c:pt>
                <c:pt idx="24">
                  <c:v>80</c:v>
                </c:pt>
                <c:pt idx="25">
                  <c:v>81</c:v>
                </c:pt>
              </c:numCache>
            </c:numRef>
          </c:val>
          <c:extLst>
            <c:ext xmlns:c16="http://schemas.microsoft.com/office/drawing/2014/chart" uri="{C3380CC4-5D6E-409C-BE32-E72D297353CC}">
              <c16:uniqueId val="{00000000-BB61-420A-8746-A100DEDBC056}"/>
            </c:ext>
          </c:extLst>
        </c:ser>
        <c:ser>
          <c:idx val="1"/>
          <c:order val="1"/>
          <c:tx>
            <c:strRef>
              <c:f>'SM 8'!$A$3</c:f>
              <c:strCache>
                <c:ptCount val="1"/>
                <c:pt idx="0">
                  <c:v>Working on it </c:v>
                </c:pt>
              </c:strCache>
            </c:strRef>
          </c:tx>
          <c:spPr>
            <a:solidFill>
              <a:srgbClr val="FFC000"/>
            </a:solidFill>
            <a:ln>
              <a:noFill/>
            </a:ln>
            <a:effectLst/>
          </c:spPr>
          <c:invertIfNegative val="0"/>
          <c:cat>
            <c:strRef>
              <c:f>'SM 8'!$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8'!$B$3:$AA$3</c:f>
              <c:numCache>
                <c:formatCode>General</c:formatCode>
                <c:ptCount val="26"/>
                <c:pt idx="0">
                  <c:v>15.56</c:v>
                </c:pt>
                <c:pt idx="1">
                  <c:v>38.549999999999997</c:v>
                </c:pt>
                <c:pt idx="2">
                  <c:v>48.15</c:v>
                </c:pt>
                <c:pt idx="3">
                  <c:v>53.25</c:v>
                </c:pt>
                <c:pt idx="4">
                  <c:v>56.41</c:v>
                </c:pt>
                <c:pt idx="5">
                  <c:v>59.42</c:v>
                </c:pt>
                <c:pt idx="6">
                  <c:v>64.290000000000006</c:v>
                </c:pt>
                <c:pt idx="7">
                  <c:v>58.21</c:v>
                </c:pt>
                <c:pt idx="8">
                  <c:v>56.06</c:v>
                </c:pt>
                <c:pt idx="9">
                  <c:v>49.21</c:v>
                </c:pt>
                <c:pt idx="10">
                  <c:v>47.54</c:v>
                </c:pt>
                <c:pt idx="11">
                  <c:v>43.75</c:v>
                </c:pt>
                <c:pt idx="12">
                  <c:v>43.33</c:v>
                </c:pt>
                <c:pt idx="13">
                  <c:v>40.32</c:v>
                </c:pt>
                <c:pt idx="14">
                  <c:v>36.51</c:v>
                </c:pt>
                <c:pt idx="15">
                  <c:v>32.79</c:v>
                </c:pt>
                <c:pt idx="16">
                  <c:v>30</c:v>
                </c:pt>
                <c:pt idx="17">
                  <c:v>29.51</c:v>
                </c:pt>
                <c:pt idx="18">
                  <c:v>16.95</c:v>
                </c:pt>
                <c:pt idx="19">
                  <c:v>23.33</c:v>
                </c:pt>
                <c:pt idx="20">
                  <c:v>18.18</c:v>
                </c:pt>
                <c:pt idx="21">
                  <c:v>21</c:v>
                </c:pt>
                <c:pt idx="22">
                  <c:v>20</c:v>
                </c:pt>
                <c:pt idx="23">
                  <c:v>22</c:v>
                </c:pt>
                <c:pt idx="24">
                  <c:v>18</c:v>
                </c:pt>
                <c:pt idx="25">
                  <c:v>16</c:v>
                </c:pt>
              </c:numCache>
            </c:numRef>
          </c:val>
          <c:extLst>
            <c:ext xmlns:c16="http://schemas.microsoft.com/office/drawing/2014/chart" uri="{C3380CC4-5D6E-409C-BE32-E72D297353CC}">
              <c16:uniqueId val="{00000001-BB61-420A-8746-A100DEDBC056}"/>
            </c:ext>
          </c:extLst>
        </c:ser>
        <c:ser>
          <c:idx val="2"/>
          <c:order val="2"/>
          <c:tx>
            <c:strRef>
              <c:f>'SM 8'!$A$4</c:f>
              <c:strCache>
                <c:ptCount val="1"/>
                <c:pt idx="0">
                  <c:v>Not Started</c:v>
                </c:pt>
              </c:strCache>
            </c:strRef>
          </c:tx>
          <c:spPr>
            <a:solidFill>
              <a:srgbClr val="FF0000"/>
            </a:solidFill>
            <a:ln>
              <a:noFill/>
            </a:ln>
            <a:effectLst/>
          </c:spPr>
          <c:invertIfNegative val="0"/>
          <c:cat>
            <c:strRef>
              <c:f>'SM 8'!$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8'!$B$4:$AA$4</c:f>
              <c:numCache>
                <c:formatCode>General</c:formatCode>
                <c:ptCount val="26"/>
                <c:pt idx="0">
                  <c:v>79.680000000000007</c:v>
                </c:pt>
                <c:pt idx="1">
                  <c:v>54.22</c:v>
                </c:pt>
                <c:pt idx="2">
                  <c:v>42.99</c:v>
                </c:pt>
                <c:pt idx="3">
                  <c:v>25.97</c:v>
                </c:pt>
                <c:pt idx="4">
                  <c:v>16.670000000000002</c:v>
                </c:pt>
                <c:pt idx="5">
                  <c:v>14.489999999999995</c:v>
                </c:pt>
                <c:pt idx="6">
                  <c:v>7.1399999999999864</c:v>
                </c:pt>
                <c:pt idx="7">
                  <c:v>4.4799999999999898</c:v>
                </c:pt>
                <c:pt idx="8">
                  <c:v>1.519999999999996</c:v>
                </c:pt>
                <c:pt idx="9">
                  <c:v>1.5799999999999983</c:v>
                </c:pt>
                <c:pt idx="10">
                  <c:v>1.6400000000000006</c:v>
                </c:pt>
                <c:pt idx="11">
                  <c:v>4.6899999999999977</c:v>
                </c:pt>
                <c:pt idx="12">
                  <c:v>5</c:v>
                </c:pt>
                <c:pt idx="13">
                  <c:v>6.4500000000000028</c:v>
                </c:pt>
                <c:pt idx="14">
                  <c:v>6.3499999999999943</c:v>
                </c:pt>
                <c:pt idx="15">
                  <c:v>6.5500000000000114</c:v>
                </c:pt>
                <c:pt idx="16">
                  <c:v>5</c:v>
                </c:pt>
                <c:pt idx="17">
                  <c:v>4.9200000000000017</c:v>
                </c:pt>
                <c:pt idx="18">
                  <c:v>10.170000000000002</c:v>
                </c:pt>
                <c:pt idx="19">
                  <c:v>6.6700000000000017</c:v>
                </c:pt>
                <c:pt idx="20">
                  <c:v>5.460000000000008</c:v>
                </c:pt>
                <c:pt idx="21">
                  <c:v>1</c:v>
                </c:pt>
                <c:pt idx="22">
                  <c:v>2</c:v>
                </c:pt>
                <c:pt idx="23">
                  <c:v>7</c:v>
                </c:pt>
                <c:pt idx="24">
                  <c:v>2</c:v>
                </c:pt>
                <c:pt idx="25">
                  <c:v>3</c:v>
                </c:pt>
              </c:numCache>
            </c:numRef>
          </c:val>
          <c:extLst>
            <c:ext xmlns:c16="http://schemas.microsoft.com/office/drawing/2014/chart" uri="{C3380CC4-5D6E-409C-BE32-E72D297353CC}">
              <c16:uniqueId val="{00000002-BB61-420A-8746-A100DEDBC056}"/>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u="none" strike="noStrike" baseline="0">
                <a:effectLst/>
              </a:rPr>
              <a:t>Implemented cesarean decision checklist using ACOG/SMFM labor guidelines</a:t>
            </a:r>
            <a:endParaRPr lang="en-US" sz="1600" b="0">
              <a:effectLst/>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4'!$A$2</c:f>
              <c:strCache>
                <c:ptCount val="1"/>
                <c:pt idx="0">
                  <c:v>In Place</c:v>
                </c:pt>
              </c:strCache>
            </c:strRef>
          </c:tx>
          <c:spPr>
            <a:solidFill>
              <a:srgbClr val="00B050"/>
            </a:solidFill>
            <a:ln>
              <a:noFill/>
            </a:ln>
            <a:effectLst/>
          </c:spPr>
          <c:invertIfNegative val="0"/>
          <c:cat>
            <c:strRef>
              <c:f>'SM 4'!$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4'!$B$2:$AA$2</c:f>
              <c:numCache>
                <c:formatCode>General</c:formatCode>
                <c:ptCount val="26"/>
                <c:pt idx="0">
                  <c:v>3.58</c:v>
                </c:pt>
                <c:pt idx="1">
                  <c:v>5</c:v>
                </c:pt>
                <c:pt idx="2">
                  <c:v>6.33</c:v>
                </c:pt>
                <c:pt idx="3">
                  <c:v>9.09</c:v>
                </c:pt>
                <c:pt idx="4">
                  <c:v>12.82</c:v>
                </c:pt>
                <c:pt idx="5">
                  <c:v>15.94</c:v>
                </c:pt>
                <c:pt idx="6">
                  <c:v>24.29</c:v>
                </c:pt>
                <c:pt idx="7">
                  <c:v>35.82</c:v>
                </c:pt>
                <c:pt idx="8">
                  <c:v>46.97</c:v>
                </c:pt>
                <c:pt idx="9">
                  <c:v>60.94</c:v>
                </c:pt>
                <c:pt idx="10">
                  <c:v>63.93</c:v>
                </c:pt>
                <c:pt idx="11">
                  <c:v>63.08</c:v>
                </c:pt>
                <c:pt idx="12">
                  <c:v>72.88</c:v>
                </c:pt>
                <c:pt idx="13">
                  <c:v>59.68</c:v>
                </c:pt>
                <c:pt idx="14">
                  <c:v>69.84</c:v>
                </c:pt>
                <c:pt idx="15">
                  <c:v>72.13</c:v>
                </c:pt>
                <c:pt idx="16">
                  <c:v>71.67</c:v>
                </c:pt>
                <c:pt idx="17">
                  <c:v>77.42</c:v>
                </c:pt>
                <c:pt idx="18">
                  <c:v>78.33</c:v>
                </c:pt>
                <c:pt idx="19">
                  <c:v>80</c:v>
                </c:pt>
                <c:pt idx="20">
                  <c:v>80</c:v>
                </c:pt>
                <c:pt idx="21">
                  <c:v>79</c:v>
                </c:pt>
                <c:pt idx="22">
                  <c:v>84</c:v>
                </c:pt>
                <c:pt idx="23">
                  <c:v>84</c:v>
                </c:pt>
                <c:pt idx="24">
                  <c:v>78</c:v>
                </c:pt>
                <c:pt idx="25">
                  <c:v>88</c:v>
                </c:pt>
              </c:numCache>
            </c:numRef>
          </c:val>
          <c:extLst>
            <c:ext xmlns:c16="http://schemas.microsoft.com/office/drawing/2014/chart" uri="{C3380CC4-5D6E-409C-BE32-E72D297353CC}">
              <c16:uniqueId val="{00000000-3B2B-4F9B-97FC-DDF7C030D9B4}"/>
            </c:ext>
          </c:extLst>
        </c:ser>
        <c:ser>
          <c:idx val="1"/>
          <c:order val="1"/>
          <c:tx>
            <c:strRef>
              <c:f>'SM 4'!$A$3</c:f>
              <c:strCache>
                <c:ptCount val="1"/>
                <c:pt idx="0">
                  <c:v>Working on it </c:v>
                </c:pt>
              </c:strCache>
            </c:strRef>
          </c:tx>
          <c:spPr>
            <a:solidFill>
              <a:srgbClr val="FFC000"/>
            </a:solidFill>
            <a:ln>
              <a:noFill/>
            </a:ln>
            <a:effectLst/>
          </c:spPr>
          <c:invertIfNegative val="0"/>
          <c:cat>
            <c:strRef>
              <c:f>'SM 4'!$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4'!$B$3:$AA$3</c:f>
              <c:numCache>
                <c:formatCode>General</c:formatCode>
                <c:ptCount val="26"/>
                <c:pt idx="0">
                  <c:v>9.52</c:v>
                </c:pt>
                <c:pt idx="1">
                  <c:v>31.25</c:v>
                </c:pt>
                <c:pt idx="2">
                  <c:v>40.51</c:v>
                </c:pt>
                <c:pt idx="3">
                  <c:v>58.44</c:v>
                </c:pt>
                <c:pt idx="4">
                  <c:v>67.95</c:v>
                </c:pt>
                <c:pt idx="5">
                  <c:v>71.010000000000005</c:v>
                </c:pt>
                <c:pt idx="6">
                  <c:v>68.569999999999993</c:v>
                </c:pt>
                <c:pt idx="7">
                  <c:v>58.21</c:v>
                </c:pt>
                <c:pt idx="8">
                  <c:v>45.45</c:v>
                </c:pt>
                <c:pt idx="9">
                  <c:v>34.380000000000003</c:v>
                </c:pt>
                <c:pt idx="10">
                  <c:v>32.79</c:v>
                </c:pt>
                <c:pt idx="11">
                  <c:v>30.77</c:v>
                </c:pt>
                <c:pt idx="12">
                  <c:v>20.34</c:v>
                </c:pt>
                <c:pt idx="13">
                  <c:v>32.26</c:v>
                </c:pt>
                <c:pt idx="14">
                  <c:v>23.81</c:v>
                </c:pt>
                <c:pt idx="15">
                  <c:v>19.670000000000002</c:v>
                </c:pt>
                <c:pt idx="16">
                  <c:v>20</c:v>
                </c:pt>
                <c:pt idx="17">
                  <c:v>16.13</c:v>
                </c:pt>
                <c:pt idx="18">
                  <c:v>15</c:v>
                </c:pt>
                <c:pt idx="19">
                  <c:v>15</c:v>
                </c:pt>
                <c:pt idx="20">
                  <c:v>15</c:v>
                </c:pt>
                <c:pt idx="21">
                  <c:v>18</c:v>
                </c:pt>
                <c:pt idx="22">
                  <c:v>14</c:v>
                </c:pt>
                <c:pt idx="23">
                  <c:v>15</c:v>
                </c:pt>
                <c:pt idx="24">
                  <c:v>20</c:v>
                </c:pt>
                <c:pt idx="25">
                  <c:v>9</c:v>
                </c:pt>
              </c:numCache>
            </c:numRef>
          </c:val>
          <c:extLst>
            <c:ext xmlns:c16="http://schemas.microsoft.com/office/drawing/2014/chart" uri="{C3380CC4-5D6E-409C-BE32-E72D297353CC}">
              <c16:uniqueId val="{00000001-3B2B-4F9B-97FC-DDF7C030D9B4}"/>
            </c:ext>
          </c:extLst>
        </c:ser>
        <c:ser>
          <c:idx val="2"/>
          <c:order val="2"/>
          <c:tx>
            <c:strRef>
              <c:f>'SM 4'!$A$4</c:f>
              <c:strCache>
                <c:ptCount val="1"/>
                <c:pt idx="0">
                  <c:v>Not Started</c:v>
                </c:pt>
              </c:strCache>
            </c:strRef>
          </c:tx>
          <c:spPr>
            <a:solidFill>
              <a:srgbClr val="FF0000"/>
            </a:solidFill>
            <a:ln>
              <a:noFill/>
            </a:ln>
            <a:effectLst/>
          </c:spPr>
          <c:invertIfNegative val="0"/>
          <c:cat>
            <c:strRef>
              <c:f>'SM 4'!$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4'!$B$4:$AA$4</c:f>
              <c:numCache>
                <c:formatCode>General</c:formatCode>
                <c:ptCount val="26"/>
                <c:pt idx="0">
                  <c:v>86.9</c:v>
                </c:pt>
                <c:pt idx="1">
                  <c:v>63.75</c:v>
                </c:pt>
                <c:pt idx="2">
                  <c:v>53.160000000000004</c:v>
                </c:pt>
                <c:pt idx="3">
                  <c:v>32.47</c:v>
                </c:pt>
                <c:pt idx="4">
                  <c:v>19.22999999999999</c:v>
                </c:pt>
                <c:pt idx="5">
                  <c:v>13.049999999999997</c:v>
                </c:pt>
                <c:pt idx="6">
                  <c:v>7.1400000000000148</c:v>
                </c:pt>
                <c:pt idx="7">
                  <c:v>5.9699999999999989</c:v>
                </c:pt>
                <c:pt idx="8">
                  <c:v>7.5799999999999983</c:v>
                </c:pt>
                <c:pt idx="9">
                  <c:v>4.6800000000000068</c:v>
                </c:pt>
                <c:pt idx="10">
                  <c:v>3.2800000000000011</c:v>
                </c:pt>
                <c:pt idx="11">
                  <c:v>6.1500000000000057</c:v>
                </c:pt>
                <c:pt idx="12">
                  <c:v>6.7800000000000011</c:v>
                </c:pt>
                <c:pt idx="13">
                  <c:v>8.0600000000000023</c:v>
                </c:pt>
                <c:pt idx="14">
                  <c:v>6.3499999999999943</c:v>
                </c:pt>
                <c:pt idx="15">
                  <c:v>8.2000000000000028</c:v>
                </c:pt>
                <c:pt idx="16">
                  <c:v>8.3299999999999983</c:v>
                </c:pt>
                <c:pt idx="17">
                  <c:v>6.4500000000000028</c:v>
                </c:pt>
                <c:pt idx="18">
                  <c:v>6.6700000000000017</c:v>
                </c:pt>
                <c:pt idx="19">
                  <c:v>5</c:v>
                </c:pt>
                <c:pt idx="20">
                  <c:v>5</c:v>
                </c:pt>
                <c:pt idx="21">
                  <c:v>3</c:v>
                </c:pt>
                <c:pt idx="22">
                  <c:v>2</c:v>
                </c:pt>
                <c:pt idx="23">
                  <c:v>1</c:v>
                </c:pt>
                <c:pt idx="24">
                  <c:v>2</c:v>
                </c:pt>
                <c:pt idx="25">
                  <c:v>3</c:v>
                </c:pt>
              </c:numCache>
            </c:numRef>
          </c:val>
          <c:extLst>
            <c:ext xmlns:c16="http://schemas.microsoft.com/office/drawing/2014/chart" uri="{C3380CC4-5D6E-409C-BE32-E72D297353CC}">
              <c16:uniqueId val="{00000002-3B2B-4F9B-97FC-DDF7C030D9B4}"/>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5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u="none" strike="noStrike" baseline="0" dirty="0">
                <a:effectLst/>
              </a:rPr>
              <a:t>Implemented decision huddles and/or decision debriefs with appropriate care team</a:t>
            </a:r>
            <a:endParaRPr lang="en-US" sz="1600" b="0" dirty="0">
              <a:effectLst/>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5'!$A$2</c:f>
              <c:strCache>
                <c:ptCount val="1"/>
                <c:pt idx="0">
                  <c:v>In Place</c:v>
                </c:pt>
              </c:strCache>
            </c:strRef>
          </c:tx>
          <c:spPr>
            <a:solidFill>
              <a:srgbClr val="00B050"/>
            </a:solidFill>
            <a:ln>
              <a:noFill/>
            </a:ln>
            <a:effectLst/>
          </c:spPr>
          <c:invertIfNegative val="0"/>
          <c:cat>
            <c:strRef>
              <c:f>'SM 5'!$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5'!$B$2:$AA$2</c:f>
              <c:numCache>
                <c:formatCode>General</c:formatCode>
                <c:ptCount val="26"/>
                <c:pt idx="0">
                  <c:v>2.2199999999999989</c:v>
                </c:pt>
                <c:pt idx="1">
                  <c:v>2.5</c:v>
                </c:pt>
                <c:pt idx="2">
                  <c:v>3.95</c:v>
                </c:pt>
                <c:pt idx="3">
                  <c:v>7.79</c:v>
                </c:pt>
                <c:pt idx="4">
                  <c:v>13.92</c:v>
                </c:pt>
                <c:pt idx="5">
                  <c:v>13.04</c:v>
                </c:pt>
                <c:pt idx="6">
                  <c:v>17.14</c:v>
                </c:pt>
                <c:pt idx="7">
                  <c:v>26.47</c:v>
                </c:pt>
                <c:pt idx="8">
                  <c:v>37.880000000000003</c:v>
                </c:pt>
                <c:pt idx="9">
                  <c:v>40.619999999999997</c:v>
                </c:pt>
                <c:pt idx="10">
                  <c:v>44.36</c:v>
                </c:pt>
                <c:pt idx="11">
                  <c:v>48.39</c:v>
                </c:pt>
                <c:pt idx="12">
                  <c:v>53.45</c:v>
                </c:pt>
                <c:pt idx="13">
                  <c:v>51.61</c:v>
                </c:pt>
                <c:pt idx="14">
                  <c:v>55.56</c:v>
                </c:pt>
                <c:pt idx="15">
                  <c:v>60.66</c:v>
                </c:pt>
                <c:pt idx="16">
                  <c:v>58.33</c:v>
                </c:pt>
                <c:pt idx="17">
                  <c:v>60.66</c:v>
                </c:pt>
                <c:pt idx="18">
                  <c:v>67.8</c:v>
                </c:pt>
                <c:pt idx="19">
                  <c:v>68.33</c:v>
                </c:pt>
                <c:pt idx="20">
                  <c:v>73</c:v>
                </c:pt>
                <c:pt idx="21">
                  <c:v>70</c:v>
                </c:pt>
                <c:pt idx="22">
                  <c:v>76</c:v>
                </c:pt>
                <c:pt idx="23">
                  <c:v>69</c:v>
                </c:pt>
                <c:pt idx="24">
                  <c:v>73</c:v>
                </c:pt>
                <c:pt idx="25">
                  <c:v>81</c:v>
                </c:pt>
              </c:numCache>
            </c:numRef>
          </c:val>
          <c:extLst>
            <c:ext xmlns:c16="http://schemas.microsoft.com/office/drawing/2014/chart" uri="{C3380CC4-5D6E-409C-BE32-E72D297353CC}">
              <c16:uniqueId val="{00000000-82ED-4369-9EEC-59990D46E3BA}"/>
            </c:ext>
          </c:extLst>
        </c:ser>
        <c:ser>
          <c:idx val="1"/>
          <c:order val="1"/>
          <c:tx>
            <c:strRef>
              <c:f>'SM 5'!$A$3</c:f>
              <c:strCache>
                <c:ptCount val="1"/>
                <c:pt idx="0">
                  <c:v>Working on it </c:v>
                </c:pt>
              </c:strCache>
            </c:strRef>
          </c:tx>
          <c:spPr>
            <a:solidFill>
              <a:srgbClr val="FFC000"/>
            </a:solidFill>
            <a:ln>
              <a:noFill/>
            </a:ln>
            <a:effectLst/>
          </c:spPr>
          <c:invertIfNegative val="0"/>
          <c:cat>
            <c:strRef>
              <c:f>'SM 5'!$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5'!$B$3:$AA$3</c:f>
              <c:numCache>
                <c:formatCode>General</c:formatCode>
                <c:ptCount val="26"/>
                <c:pt idx="0">
                  <c:v>10</c:v>
                </c:pt>
                <c:pt idx="1">
                  <c:v>27.5</c:v>
                </c:pt>
                <c:pt idx="2">
                  <c:v>39.47</c:v>
                </c:pt>
                <c:pt idx="3">
                  <c:v>53.25</c:v>
                </c:pt>
                <c:pt idx="4">
                  <c:v>60.76</c:v>
                </c:pt>
                <c:pt idx="5">
                  <c:v>72.459999999999994</c:v>
                </c:pt>
                <c:pt idx="6">
                  <c:v>71.430000000000007</c:v>
                </c:pt>
                <c:pt idx="7">
                  <c:v>64.709999999999994</c:v>
                </c:pt>
                <c:pt idx="8">
                  <c:v>56.06</c:v>
                </c:pt>
                <c:pt idx="9">
                  <c:v>51.56</c:v>
                </c:pt>
                <c:pt idx="10">
                  <c:v>50.82</c:v>
                </c:pt>
                <c:pt idx="11">
                  <c:v>46.77</c:v>
                </c:pt>
                <c:pt idx="12">
                  <c:v>43.1</c:v>
                </c:pt>
                <c:pt idx="13">
                  <c:v>38.979999999999997</c:v>
                </c:pt>
                <c:pt idx="14">
                  <c:v>34.92</c:v>
                </c:pt>
                <c:pt idx="15">
                  <c:v>31.15</c:v>
                </c:pt>
                <c:pt idx="16">
                  <c:v>35</c:v>
                </c:pt>
                <c:pt idx="17">
                  <c:v>32.79</c:v>
                </c:pt>
                <c:pt idx="18">
                  <c:v>25.42</c:v>
                </c:pt>
                <c:pt idx="19">
                  <c:v>28.33</c:v>
                </c:pt>
                <c:pt idx="20">
                  <c:v>24</c:v>
                </c:pt>
                <c:pt idx="21">
                  <c:v>20.83</c:v>
                </c:pt>
                <c:pt idx="22">
                  <c:v>20</c:v>
                </c:pt>
                <c:pt idx="23">
                  <c:v>26</c:v>
                </c:pt>
                <c:pt idx="24">
                  <c:v>24</c:v>
                </c:pt>
                <c:pt idx="25">
                  <c:v>13</c:v>
                </c:pt>
              </c:numCache>
            </c:numRef>
          </c:val>
          <c:extLst>
            <c:ext xmlns:c16="http://schemas.microsoft.com/office/drawing/2014/chart" uri="{C3380CC4-5D6E-409C-BE32-E72D297353CC}">
              <c16:uniqueId val="{00000001-82ED-4369-9EEC-59990D46E3BA}"/>
            </c:ext>
          </c:extLst>
        </c:ser>
        <c:ser>
          <c:idx val="2"/>
          <c:order val="2"/>
          <c:tx>
            <c:strRef>
              <c:f>'SM 5'!$A$4</c:f>
              <c:strCache>
                <c:ptCount val="1"/>
                <c:pt idx="0">
                  <c:v>Not Started</c:v>
                </c:pt>
              </c:strCache>
            </c:strRef>
          </c:tx>
          <c:spPr>
            <a:solidFill>
              <a:srgbClr val="FF0000"/>
            </a:solidFill>
            <a:ln>
              <a:noFill/>
            </a:ln>
            <a:effectLst/>
          </c:spPr>
          <c:invertIfNegative val="0"/>
          <c:cat>
            <c:strRef>
              <c:f>'SM 5'!$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5'!$B$4:$AA$4</c:f>
              <c:numCache>
                <c:formatCode>General</c:formatCode>
                <c:ptCount val="26"/>
                <c:pt idx="0">
                  <c:v>87.78</c:v>
                </c:pt>
                <c:pt idx="1">
                  <c:v>70</c:v>
                </c:pt>
                <c:pt idx="2">
                  <c:v>56.58</c:v>
                </c:pt>
                <c:pt idx="3">
                  <c:v>38.96</c:v>
                </c:pt>
                <c:pt idx="4">
                  <c:v>25.320000000000007</c:v>
                </c:pt>
                <c:pt idx="5">
                  <c:v>14.5</c:v>
                </c:pt>
                <c:pt idx="6">
                  <c:v>11.429999999999993</c:v>
                </c:pt>
                <c:pt idx="7">
                  <c:v>8.8200000000000074</c:v>
                </c:pt>
                <c:pt idx="8">
                  <c:v>6.0600000000000023</c:v>
                </c:pt>
                <c:pt idx="9">
                  <c:v>7.8199999999999932</c:v>
                </c:pt>
                <c:pt idx="10">
                  <c:v>4.8199999999999932</c:v>
                </c:pt>
                <c:pt idx="11">
                  <c:v>4.8400000000000034</c:v>
                </c:pt>
                <c:pt idx="12">
                  <c:v>3.4499999999999886</c:v>
                </c:pt>
                <c:pt idx="13">
                  <c:v>9.4099999999999966</c:v>
                </c:pt>
                <c:pt idx="14">
                  <c:v>9.519999999999996</c:v>
                </c:pt>
                <c:pt idx="15">
                  <c:v>8.1899999999999977</c:v>
                </c:pt>
                <c:pt idx="16">
                  <c:v>6.6700000000000017</c:v>
                </c:pt>
                <c:pt idx="17">
                  <c:v>6.5500000000000114</c:v>
                </c:pt>
                <c:pt idx="18">
                  <c:v>6.7800000000000011</c:v>
                </c:pt>
                <c:pt idx="19">
                  <c:v>3.3400000000000034</c:v>
                </c:pt>
                <c:pt idx="20">
                  <c:v>3</c:v>
                </c:pt>
                <c:pt idx="21">
                  <c:v>9.1700000000000017</c:v>
                </c:pt>
                <c:pt idx="22">
                  <c:v>4</c:v>
                </c:pt>
                <c:pt idx="23">
                  <c:v>5</c:v>
                </c:pt>
                <c:pt idx="24">
                  <c:v>3</c:v>
                </c:pt>
                <c:pt idx="25">
                  <c:v>6</c:v>
                </c:pt>
              </c:numCache>
            </c:numRef>
          </c:val>
          <c:extLst>
            <c:ext xmlns:c16="http://schemas.microsoft.com/office/drawing/2014/chart" uri="{C3380CC4-5D6E-409C-BE32-E72D297353CC}">
              <c16:uniqueId val="{00000002-82ED-4369-9EEC-59990D46E3BA}"/>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r>
              <a:rPr lang="en-US" sz="1600" b="0" i="0" u="none" strike="noStrike" baseline="0">
                <a:effectLst/>
              </a:rPr>
              <a:t>Implemented workflow process to incorporate shared decision making with the patient </a:t>
            </a:r>
            <a:endParaRPr lang="en-US" sz="1600" b="0">
              <a:effectLst/>
            </a:endParaRPr>
          </a:p>
        </c:rich>
      </c:tx>
      <c:overlay val="0"/>
      <c:spPr>
        <a:noFill/>
        <a:ln>
          <a:noFill/>
        </a:ln>
        <a:effectLst/>
      </c:spPr>
      <c:txPr>
        <a:bodyPr rot="0" spcFirstLastPara="1" vertOverflow="ellipsis" vert="horz" wrap="square" anchor="ctr" anchorCtr="1"/>
        <a:lstStyle/>
        <a:p>
          <a:pPr>
            <a:defRPr sz="16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6'!$A$2</c:f>
              <c:strCache>
                <c:ptCount val="1"/>
                <c:pt idx="0">
                  <c:v>In Place</c:v>
                </c:pt>
              </c:strCache>
            </c:strRef>
          </c:tx>
          <c:spPr>
            <a:solidFill>
              <a:srgbClr val="00B050"/>
            </a:solidFill>
            <a:ln>
              <a:noFill/>
            </a:ln>
            <a:effectLst/>
          </c:spPr>
          <c:invertIfNegative val="0"/>
          <c:cat>
            <c:strRef>
              <c:f>'SM 6'!$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6'!$B$2:$AA$2</c:f>
              <c:numCache>
                <c:formatCode>General</c:formatCode>
                <c:ptCount val="26"/>
                <c:pt idx="0">
                  <c:v>2.41</c:v>
                </c:pt>
                <c:pt idx="1">
                  <c:v>2.56</c:v>
                </c:pt>
                <c:pt idx="2">
                  <c:v>3.94</c:v>
                </c:pt>
                <c:pt idx="3">
                  <c:v>4.05</c:v>
                </c:pt>
                <c:pt idx="4">
                  <c:v>10.130000000000001</c:v>
                </c:pt>
                <c:pt idx="5">
                  <c:v>10.14</c:v>
                </c:pt>
                <c:pt idx="6">
                  <c:v>12.86</c:v>
                </c:pt>
                <c:pt idx="7">
                  <c:v>17.649999999999999</c:v>
                </c:pt>
                <c:pt idx="8">
                  <c:v>27.27</c:v>
                </c:pt>
                <c:pt idx="9">
                  <c:v>32.81</c:v>
                </c:pt>
                <c:pt idx="10">
                  <c:v>42.62</c:v>
                </c:pt>
                <c:pt idx="11">
                  <c:v>40.32</c:v>
                </c:pt>
                <c:pt idx="12">
                  <c:v>44.83</c:v>
                </c:pt>
                <c:pt idx="13">
                  <c:v>45.76</c:v>
                </c:pt>
                <c:pt idx="14">
                  <c:v>49.21</c:v>
                </c:pt>
                <c:pt idx="15">
                  <c:v>54.1</c:v>
                </c:pt>
                <c:pt idx="16">
                  <c:v>56.67</c:v>
                </c:pt>
                <c:pt idx="17">
                  <c:v>57.38</c:v>
                </c:pt>
                <c:pt idx="18">
                  <c:v>60</c:v>
                </c:pt>
                <c:pt idx="19">
                  <c:v>65</c:v>
                </c:pt>
                <c:pt idx="20">
                  <c:v>68</c:v>
                </c:pt>
                <c:pt idx="21">
                  <c:v>71</c:v>
                </c:pt>
                <c:pt idx="22">
                  <c:v>75</c:v>
                </c:pt>
                <c:pt idx="23">
                  <c:v>76</c:v>
                </c:pt>
                <c:pt idx="24">
                  <c:v>76</c:v>
                </c:pt>
                <c:pt idx="25">
                  <c:v>81</c:v>
                </c:pt>
              </c:numCache>
            </c:numRef>
          </c:val>
          <c:extLst>
            <c:ext xmlns:c16="http://schemas.microsoft.com/office/drawing/2014/chart" uri="{C3380CC4-5D6E-409C-BE32-E72D297353CC}">
              <c16:uniqueId val="{00000000-CD95-4F46-A7CA-AED9D835D3D3}"/>
            </c:ext>
          </c:extLst>
        </c:ser>
        <c:ser>
          <c:idx val="1"/>
          <c:order val="1"/>
          <c:tx>
            <c:strRef>
              <c:f>'SM 6'!$A$3</c:f>
              <c:strCache>
                <c:ptCount val="1"/>
                <c:pt idx="0">
                  <c:v>Working on it </c:v>
                </c:pt>
              </c:strCache>
            </c:strRef>
          </c:tx>
          <c:spPr>
            <a:solidFill>
              <a:srgbClr val="FFC000"/>
            </a:solidFill>
            <a:ln>
              <a:noFill/>
            </a:ln>
            <a:effectLst/>
          </c:spPr>
          <c:invertIfNegative val="0"/>
          <c:cat>
            <c:strRef>
              <c:f>'SM 6'!$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6'!$B$3:$AA$3</c:f>
              <c:numCache>
                <c:formatCode>General</c:formatCode>
                <c:ptCount val="26"/>
                <c:pt idx="0">
                  <c:v>13.25</c:v>
                </c:pt>
                <c:pt idx="1">
                  <c:v>29.49</c:v>
                </c:pt>
                <c:pt idx="2">
                  <c:v>42.11</c:v>
                </c:pt>
                <c:pt idx="3">
                  <c:v>60.81</c:v>
                </c:pt>
                <c:pt idx="4">
                  <c:v>63.29</c:v>
                </c:pt>
                <c:pt idx="5">
                  <c:v>71</c:v>
                </c:pt>
                <c:pt idx="6">
                  <c:v>72.86</c:v>
                </c:pt>
                <c:pt idx="7">
                  <c:v>69.12</c:v>
                </c:pt>
                <c:pt idx="8">
                  <c:v>65.150000000000006</c:v>
                </c:pt>
                <c:pt idx="9">
                  <c:v>60.94</c:v>
                </c:pt>
                <c:pt idx="10">
                  <c:v>54.1</c:v>
                </c:pt>
                <c:pt idx="11">
                  <c:v>56.45</c:v>
                </c:pt>
                <c:pt idx="12">
                  <c:v>53.45</c:v>
                </c:pt>
                <c:pt idx="13">
                  <c:v>47.46</c:v>
                </c:pt>
                <c:pt idx="14">
                  <c:v>42.86</c:v>
                </c:pt>
                <c:pt idx="15">
                  <c:v>37.700000000000003</c:v>
                </c:pt>
                <c:pt idx="16">
                  <c:v>33.33</c:v>
                </c:pt>
                <c:pt idx="17">
                  <c:v>32.79</c:v>
                </c:pt>
                <c:pt idx="18">
                  <c:v>35</c:v>
                </c:pt>
                <c:pt idx="19">
                  <c:v>31.67</c:v>
                </c:pt>
                <c:pt idx="20">
                  <c:v>29</c:v>
                </c:pt>
                <c:pt idx="21">
                  <c:v>26</c:v>
                </c:pt>
                <c:pt idx="22">
                  <c:v>23</c:v>
                </c:pt>
                <c:pt idx="23">
                  <c:v>22</c:v>
                </c:pt>
                <c:pt idx="24">
                  <c:v>24</c:v>
                </c:pt>
                <c:pt idx="25">
                  <c:v>19</c:v>
                </c:pt>
              </c:numCache>
            </c:numRef>
          </c:val>
          <c:extLst>
            <c:ext xmlns:c16="http://schemas.microsoft.com/office/drawing/2014/chart" uri="{C3380CC4-5D6E-409C-BE32-E72D297353CC}">
              <c16:uniqueId val="{00000001-CD95-4F46-A7CA-AED9D835D3D3}"/>
            </c:ext>
          </c:extLst>
        </c:ser>
        <c:ser>
          <c:idx val="2"/>
          <c:order val="2"/>
          <c:tx>
            <c:strRef>
              <c:f>'SM 6'!$A$4</c:f>
              <c:strCache>
                <c:ptCount val="1"/>
                <c:pt idx="0">
                  <c:v>Not Started</c:v>
                </c:pt>
              </c:strCache>
            </c:strRef>
          </c:tx>
          <c:spPr>
            <a:solidFill>
              <a:srgbClr val="FF0000"/>
            </a:solidFill>
            <a:ln>
              <a:noFill/>
            </a:ln>
            <a:effectLst/>
          </c:spPr>
          <c:invertIfNegative val="0"/>
          <c:cat>
            <c:strRef>
              <c:f>'SM 6'!$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6'!$B$4:$AA$4</c:f>
              <c:numCache>
                <c:formatCode>General</c:formatCode>
                <c:ptCount val="26"/>
                <c:pt idx="0">
                  <c:v>84.34</c:v>
                </c:pt>
                <c:pt idx="1">
                  <c:v>67.95</c:v>
                </c:pt>
                <c:pt idx="2">
                  <c:v>53.95</c:v>
                </c:pt>
                <c:pt idx="3">
                  <c:v>35.14</c:v>
                </c:pt>
                <c:pt idx="4">
                  <c:v>26.58</c:v>
                </c:pt>
                <c:pt idx="5">
                  <c:v>18.86</c:v>
                </c:pt>
                <c:pt idx="6">
                  <c:v>14.280000000000001</c:v>
                </c:pt>
                <c:pt idx="7">
                  <c:v>13.22999999999999</c:v>
                </c:pt>
                <c:pt idx="8">
                  <c:v>7.5799999999999983</c:v>
                </c:pt>
                <c:pt idx="9">
                  <c:v>6.25</c:v>
                </c:pt>
                <c:pt idx="10">
                  <c:v>3.2800000000000011</c:v>
                </c:pt>
                <c:pt idx="11">
                  <c:v>3.2299999999999898</c:v>
                </c:pt>
                <c:pt idx="12">
                  <c:v>1.7199999999999989</c:v>
                </c:pt>
                <c:pt idx="13">
                  <c:v>6.7800000000000011</c:v>
                </c:pt>
                <c:pt idx="14">
                  <c:v>7.9300000000000068</c:v>
                </c:pt>
                <c:pt idx="15">
                  <c:v>8.1999999999999886</c:v>
                </c:pt>
                <c:pt idx="16">
                  <c:v>10</c:v>
                </c:pt>
                <c:pt idx="17">
                  <c:v>9.8299999999999983</c:v>
                </c:pt>
                <c:pt idx="18">
                  <c:v>5</c:v>
                </c:pt>
                <c:pt idx="19">
                  <c:v>3.3299999999999983</c:v>
                </c:pt>
                <c:pt idx="20">
                  <c:v>3</c:v>
                </c:pt>
                <c:pt idx="21">
                  <c:v>3</c:v>
                </c:pt>
                <c:pt idx="22">
                  <c:v>2</c:v>
                </c:pt>
                <c:pt idx="23">
                  <c:v>2</c:v>
                </c:pt>
                <c:pt idx="24">
                  <c:v>0</c:v>
                </c:pt>
                <c:pt idx="25">
                  <c:v>0</c:v>
                </c:pt>
              </c:numCache>
            </c:numRef>
          </c:val>
          <c:extLst>
            <c:ext xmlns:c16="http://schemas.microsoft.com/office/drawing/2014/chart" uri="{C3380CC4-5D6E-409C-BE32-E72D297353CC}">
              <c16:uniqueId val="{00000002-CD95-4F46-A7CA-AED9D835D3D3}"/>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r>
              <a:rPr lang="en-US" sz="1600" b="1" i="0" u="none" strike="noStrike" baseline="0" dirty="0">
                <a:effectLst/>
              </a:rPr>
              <a:t> </a:t>
            </a:r>
            <a:r>
              <a:rPr lang="en-US" sz="1600" b="0" i="0" u="none" strike="noStrike" baseline="0" dirty="0">
                <a:effectLst/>
              </a:rPr>
              <a:t>Implemented standardized patient education with positive messaging promoting vaginal birth strategies</a:t>
            </a:r>
            <a:endParaRPr lang="en-US" sz="1600" b="0" dirty="0">
              <a:effectLst/>
            </a:endParaRPr>
          </a:p>
        </c:rich>
      </c:tx>
      <c:overlay val="0"/>
      <c:spPr>
        <a:noFill/>
        <a:ln>
          <a:noFill/>
        </a:ln>
        <a:effectLst/>
      </c:spPr>
      <c:txPr>
        <a:bodyPr rot="0" spcFirstLastPara="1" vertOverflow="ellipsis" vert="horz" wrap="square" anchor="ctr" anchorCtr="1"/>
        <a:lstStyle/>
        <a:p>
          <a:pPr>
            <a:defRPr sz="18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percentStacked"/>
        <c:varyColors val="0"/>
        <c:ser>
          <c:idx val="0"/>
          <c:order val="0"/>
          <c:tx>
            <c:strRef>
              <c:f>'SM 7'!$A$2</c:f>
              <c:strCache>
                <c:ptCount val="1"/>
                <c:pt idx="0">
                  <c:v>In Place</c:v>
                </c:pt>
              </c:strCache>
            </c:strRef>
          </c:tx>
          <c:spPr>
            <a:solidFill>
              <a:srgbClr val="00B050"/>
            </a:solidFill>
            <a:ln>
              <a:noFill/>
            </a:ln>
            <a:effectLst/>
          </c:spPr>
          <c:invertIfNegative val="0"/>
          <c:cat>
            <c:strRef>
              <c:f>'SM 7'!$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7'!$B$2:$AA$2</c:f>
              <c:numCache>
                <c:formatCode>General</c:formatCode>
                <c:ptCount val="26"/>
                <c:pt idx="0">
                  <c:v>2.21</c:v>
                </c:pt>
                <c:pt idx="1">
                  <c:v>1.28</c:v>
                </c:pt>
                <c:pt idx="2">
                  <c:v>2.63</c:v>
                </c:pt>
                <c:pt idx="3">
                  <c:v>0</c:v>
                </c:pt>
                <c:pt idx="4">
                  <c:v>4.91</c:v>
                </c:pt>
                <c:pt idx="5">
                  <c:v>4.08</c:v>
                </c:pt>
                <c:pt idx="6">
                  <c:v>8.6999999999999993</c:v>
                </c:pt>
                <c:pt idx="7">
                  <c:v>11.94</c:v>
                </c:pt>
                <c:pt idx="8">
                  <c:v>10.94</c:v>
                </c:pt>
                <c:pt idx="9">
                  <c:v>14.52</c:v>
                </c:pt>
                <c:pt idx="10">
                  <c:v>20.69</c:v>
                </c:pt>
                <c:pt idx="11">
                  <c:v>20.97</c:v>
                </c:pt>
                <c:pt idx="12">
                  <c:v>30</c:v>
                </c:pt>
                <c:pt idx="13">
                  <c:v>30.51</c:v>
                </c:pt>
                <c:pt idx="14">
                  <c:v>31.75</c:v>
                </c:pt>
                <c:pt idx="15">
                  <c:v>44.26</c:v>
                </c:pt>
                <c:pt idx="16">
                  <c:v>45.76</c:v>
                </c:pt>
                <c:pt idx="17">
                  <c:v>44.26</c:v>
                </c:pt>
                <c:pt idx="18">
                  <c:v>51.67</c:v>
                </c:pt>
                <c:pt idx="19">
                  <c:v>61.67</c:v>
                </c:pt>
                <c:pt idx="20">
                  <c:v>63</c:v>
                </c:pt>
                <c:pt idx="21">
                  <c:v>64</c:v>
                </c:pt>
                <c:pt idx="22">
                  <c:v>73</c:v>
                </c:pt>
                <c:pt idx="23">
                  <c:v>73</c:v>
                </c:pt>
                <c:pt idx="24">
                  <c:v>73</c:v>
                </c:pt>
                <c:pt idx="25">
                  <c:v>74</c:v>
                </c:pt>
              </c:numCache>
            </c:numRef>
          </c:val>
          <c:extLst>
            <c:ext xmlns:c16="http://schemas.microsoft.com/office/drawing/2014/chart" uri="{C3380CC4-5D6E-409C-BE32-E72D297353CC}">
              <c16:uniqueId val="{00000000-BBC0-493C-8E18-8D194F45A655}"/>
            </c:ext>
          </c:extLst>
        </c:ser>
        <c:ser>
          <c:idx val="1"/>
          <c:order val="1"/>
          <c:tx>
            <c:strRef>
              <c:f>'SM 7'!$A$3</c:f>
              <c:strCache>
                <c:ptCount val="1"/>
                <c:pt idx="0">
                  <c:v>Working on it </c:v>
                </c:pt>
              </c:strCache>
            </c:strRef>
          </c:tx>
          <c:spPr>
            <a:solidFill>
              <a:srgbClr val="FFC000"/>
            </a:solidFill>
            <a:ln>
              <a:noFill/>
            </a:ln>
            <a:effectLst/>
          </c:spPr>
          <c:invertIfNegative val="0"/>
          <c:cat>
            <c:strRef>
              <c:f>'SM 7'!$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7'!$B$3:$AA$3</c:f>
              <c:numCache>
                <c:formatCode>General</c:formatCode>
                <c:ptCount val="26"/>
                <c:pt idx="0">
                  <c:v>18.07</c:v>
                </c:pt>
                <c:pt idx="1">
                  <c:v>30.77</c:v>
                </c:pt>
                <c:pt idx="2">
                  <c:v>42.11</c:v>
                </c:pt>
                <c:pt idx="3">
                  <c:v>60.81</c:v>
                </c:pt>
                <c:pt idx="4">
                  <c:v>62.3</c:v>
                </c:pt>
                <c:pt idx="5">
                  <c:v>65.31</c:v>
                </c:pt>
                <c:pt idx="6">
                  <c:v>72.459999999999994</c:v>
                </c:pt>
                <c:pt idx="7">
                  <c:v>67.16</c:v>
                </c:pt>
                <c:pt idx="8">
                  <c:v>71.88</c:v>
                </c:pt>
                <c:pt idx="9">
                  <c:v>75.81</c:v>
                </c:pt>
                <c:pt idx="10">
                  <c:v>68.97</c:v>
                </c:pt>
                <c:pt idx="11">
                  <c:v>67.739999999999995</c:v>
                </c:pt>
                <c:pt idx="12">
                  <c:v>53.23</c:v>
                </c:pt>
                <c:pt idx="13">
                  <c:v>55.93</c:v>
                </c:pt>
                <c:pt idx="14">
                  <c:v>52.38</c:v>
                </c:pt>
                <c:pt idx="15">
                  <c:v>42.62</c:v>
                </c:pt>
                <c:pt idx="16">
                  <c:v>43.37</c:v>
                </c:pt>
                <c:pt idx="17">
                  <c:v>42.62</c:v>
                </c:pt>
                <c:pt idx="18">
                  <c:v>41.67</c:v>
                </c:pt>
                <c:pt idx="19">
                  <c:v>33.33</c:v>
                </c:pt>
                <c:pt idx="20">
                  <c:v>33</c:v>
                </c:pt>
                <c:pt idx="21">
                  <c:v>29</c:v>
                </c:pt>
                <c:pt idx="22">
                  <c:v>23</c:v>
                </c:pt>
                <c:pt idx="23">
                  <c:v>24</c:v>
                </c:pt>
                <c:pt idx="24">
                  <c:v>24</c:v>
                </c:pt>
                <c:pt idx="25">
                  <c:v>23</c:v>
                </c:pt>
              </c:numCache>
            </c:numRef>
          </c:val>
          <c:extLst>
            <c:ext xmlns:c16="http://schemas.microsoft.com/office/drawing/2014/chart" uri="{C3380CC4-5D6E-409C-BE32-E72D297353CC}">
              <c16:uniqueId val="{00000001-BBC0-493C-8E18-8D194F45A655}"/>
            </c:ext>
          </c:extLst>
        </c:ser>
        <c:ser>
          <c:idx val="2"/>
          <c:order val="2"/>
          <c:tx>
            <c:strRef>
              <c:f>'SM 7'!$A$4</c:f>
              <c:strCache>
                <c:ptCount val="1"/>
                <c:pt idx="0">
                  <c:v>Not Started</c:v>
                </c:pt>
              </c:strCache>
            </c:strRef>
          </c:tx>
          <c:spPr>
            <a:solidFill>
              <a:srgbClr val="FF0000"/>
            </a:solidFill>
            <a:ln>
              <a:noFill/>
            </a:ln>
            <a:effectLst/>
          </c:spPr>
          <c:invertIfNegative val="0"/>
          <c:cat>
            <c:strRef>
              <c:f>'SM 7'!$B$1:$AA$1</c:f>
              <c:strCache>
                <c:ptCount val="26"/>
                <c:pt idx="0">
                  <c:v>Baseline</c:v>
                </c:pt>
                <c:pt idx="1">
                  <c:v>Jan-21</c:v>
                </c:pt>
                <c:pt idx="2">
                  <c:v>Feb-21</c:v>
                </c:pt>
                <c:pt idx="3">
                  <c:v>Mar-21</c:v>
                </c:pt>
                <c:pt idx="4">
                  <c:v>Apr-21</c:v>
                </c:pt>
                <c:pt idx="5">
                  <c:v>May-21</c:v>
                </c:pt>
                <c:pt idx="6">
                  <c:v>Jun-21</c:v>
                </c:pt>
                <c:pt idx="7">
                  <c:v>Jul-21</c:v>
                </c:pt>
                <c:pt idx="8">
                  <c:v>Aug-21</c:v>
                </c:pt>
                <c:pt idx="9">
                  <c:v>21-Sep</c:v>
                </c:pt>
                <c:pt idx="10">
                  <c:v>21-Oct</c:v>
                </c:pt>
                <c:pt idx="11">
                  <c:v>Nov-21</c:v>
                </c:pt>
                <c:pt idx="12">
                  <c:v>Dec-21</c:v>
                </c:pt>
                <c:pt idx="13">
                  <c:v>Jan-22</c:v>
                </c:pt>
                <c:pt idx="14">
                  <c:v>22-Feb</c:v>
                </c:pt>
                <c:pt idx="15">
                  <c:v>22-Mar</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 7'!$B$4:$AA$4</c:f>
              <c:numCache>
                <c:formatCode>General</c:formatCode>
                <c:ptCount val="26"/>
                <c:pt idx="0">
                  <c:v>80.72</c:v>
                </c:pt>
                <c:pt idx="1">
                  <c:v>67.95</c:v>
                </c:pt>
                <c:pt idx="2">
                  <c:v>55.26</c:v>
                </c:pt>
                <c:pt idx="3">
                  <c:v>39.19</c:v>
                </c:pt>
                <c:pt idx="4">
                  <c:v>32.79</c:v>
                </c:pt>
                <c:pt idx="5">
                  <c:v>30.61</c:v>
                </c:pt>
                <c:pt idx="6">
                  <c:v>18.84</c:v>
                </c:pt>
                <c:pt idx="7">
                  <c:v>20.9</c:v>
                </c:pt>
                <c:pt idx="8">
                  <c:v>17.180000000000007</c:v>
                </c:pt>
                <c:pt idx="9">
                  <c:v>9.6700000000000017</c:v>
                </c:pt>
                <c:pt idx="10">
                  <c:v>10.340000000000003</c:v>
                </c:pt>
                <c:pt idx="11">
                  <c:v>11.290000000000006</c:v>
                </c:pt>
                <c:pt idx="12">
                  <c:v>16.77000000000001</c:v>
                </c:pt>
                <c:pt idx="13">
                  <c:v>13.560000000000002</c:v>
                </c:pt>
                <c:pt idx="14">
                  <c:v>15.870000000000005</c:v>
                </c:pt>
                <c:pt idx="15">
                  <c:v>13.120000000000005</c:v>
                </c:pt>
                <c:pt idx="16">
                  <c:v>10.870000000000005</c:v>
                </c:pt>
                <c:pt idx="17">
                  <c:v>13.120000000000005</c:v>
                </c:pt>
                <c:pt idx="18">
                  <c:v>6.6599999999999966</c:v>
                </c:pt>
                <c:pt idx="19">
                  <c:v>5</c:v>
                </c:pt>
                <c:pt idx="20">
                  <c:v>4</c:v>
                </c:pt>
                <c:pt idx="21">
                  <c:v>7</c:v>
                </c:pt>
                <c:pt idx="22">
                  <c:v>4</c:v>
                </c:pt>
                <c:pt idx="23">
                  <c:v>3</c:v>
                </c:pt>
                <c:pt idx="24">
                  <c:v>3</c:v>
                </c:pt>
                <c:pt idx="25">
                  <c:v>3</c:v>
                </c:pt>
              </c:numCache>
            </c:numRef>
          </c:val>
          <c:extLst>
            <c:ext xmlns:c16="http://schemas.microsoft.com/office/drawing/2014/chart" uri="{C3380CC4-5D6E-409C-BE32-E72D297353CC}">
              <c16:uniqueId val="{00000002-BBC0-493C-8E18-8D194F45A655}"/>
            </c:ext>
          </c:extLst>
        </c:ser>
        <c:dLbls>
          <c:showLegendKey val="0"/>
          <c:showVal val="0"/>
          <c:showCatName val="0"/>
          <c:showSerName val="0"/>
          <c:showPercent val="0"/>
          <c:showBubbleSize val="0"/>
        </c:dLbls>
        <c:gapWidth val="150"/>
        <c:overlap val="100"/>
        <c:axId val="1003852288"/>
        <c:axId val="1003852704"/>
      </c:barChart>
      <c:catAx>
        <c:axId val="100385228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003852704"/>
        <c:crosses val="autoZero"/>
        <c:auto val="1"/>
        <c:lblAlgn val="ctr"/>
        <c:lblOffset val="100"/>
        <c:noMultiLvlLbl val="0"/>
      </c:catAx>
      <c:valAx>
        <c:axId val="100385270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100385228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Percent of teams</a:t>
            </a:r>
            <a:r>
              <a:rPr lang="en-US" sz="2000" baseline="0"/>
              <a:t> working on 6 key SM</a:t>
            </a:r>
            <a:endParaRPr lang="en-US" sz="2000"/>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4.6627417974390885E-2"/>
          <c:y val="0.28619389917229321"/>
          <c:w val="0.91266038371092439"/>
          <c:h val="0.54758381554428937"/>
        </c:manualLayout>
      </c:layout>
      <c:lineChart>
        <c:grouping val="standard"/>
        <c:varyColors val="0"/>
        <c:ser>
          <c:idx val="0"/>
          <c:order val="0"/>
          <c:tx>
            <c:strRef>
              <c:f>SM!$B$1</c:f>
              <c:strCache>
                <c:ptCount val="1"/>
                <c:pt idx="0">
                  <c:v>% of teams with all 6 key SM in place</c:v>
                </c:pt>
              </c:strCache>
            </c:strRef>
          </c:tx>
          <c:spPr>
            <a:ln w="28575" cap="rnd">
              <a:solidFill>
                <a:srgbClr val="FF3399"/>
              </a:solidFill>
              <a:round/>
            </a:ln>
            <a:effectLst/>
          </c:spPr>
          <c:marker>
            <c:symbol val="none"/>
          </c:marker>
          <c:dLbls>
            <c:dLbl>
              <c:idx val="25"/>
              <c:layout>
                <c:manualLayout>
                  <c:x val="-1.129079276745598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6A85-4DB3-A589-F0EEFA855EAC}"/>
                </c:ext>
              </c:extLst>
            </c:dLbl>
            <c:spPr>
              <a:noFill/>
              <a:ln>
                <a:noFill/>
              </a:ln>
              <a:effectLst/>
            </c:spPr>
            <c:txPr>
              <a:bodyPr rot="0" spcFirstLastPara="1" vertOverflow="ellipsis" vert="horz" wrap="square" lIns="38100" tIns="19050" rIns="38100" bIns="19050" anchor="ctr" anchorCtr="1">
                <a:spAutoFit/>
              </a:bodyPr>
              <a:lstStyle/>
              <a:p>
                <a:pPr>
                  <a:defRPr sz="20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A$2:$A$27</c:f>
              <c:strCache>
                <c:ptCount val="26"/>
                <c:pt idx="0">
                  <c:v>Baseline</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B$2:$B$27</c:f>
              <c:numCache>
                <c:formatCode>0%</c:formatCode>
                <c:ptCount val="26"/>
                <c:pt idx="0">
                  <c:v>0.01</c:v>
                </c:pt>
                <c:pt idx="1">
                  <c:v>0.02</c:v>
                </c:pt>
                <c:pt idx="2">
                  <c:v>0.03</c:v>
                </c:pt>
                <c:pt idx="3">
                  <c:v>0.04</c:v>
                </c:pt>
                <c:pt idx="4">
                  <c:v>0.03</c:v>
                </c:pt>
                <c:pt idx="5">
                  <c:v>0.03</c:v>
                </c:pt>
                <c:pt idx="6">
                  <c:v>0.03</c:v>
                </c:pt>
                <c:pt idx="7">
                  <c:v>0.03</c:v>
                </c:pt>
                <c:pt idx="8">
                  <c:v>0.04</c:v>
                </c:pt>
                <c:pt idx="9">
                  <c:v>0.05</c:v>
                </c:pt>
                <c:pt idx="10">
                  <c:v>0.08</c:v>
                </c:pt>
                <c:pt idx="11">
                  <c:v>0.1</c:v>
                </c:pt>
                <c:pt idx="12">
                  <c:v>0.13</c:v>
                </c:pt>
                <c:pt idx="13">
                  <c:v>0.13</c:v>
                </c:pt>
                <c:pt idx="14">
                  <c:v>0.22</c:v>
                </c:pt>
                <c:pt idx="15">
                  <c:v>0.27</c:v>
                </c:pt>
                <c:pt idx="16">
                  <c:v>0.33</c:v>
                </c:pt>
                <c:pt idx="17">
                  <c:v>0.35897435897435898</c:v>
                </c:pt>
                <c:pt idx="18">
                  <c:v>0.41</c:v>
                </c:pt>
                <c:pt idx="19">
                  <c:v>0.45</c:v>
                </c:pt>
                <c:pt idx="20">
                  <c:v>0.47</c:v>
                </c:pt>
                <c:pt idx="21">
                  <c:v>0.54</c:v>
                </c:pt>
                <c:pt idx="22">
                  <c:v>0.57999999999999996</c:v>
                </c:pt>
                <c:pt idx="23">
                  <c:v>0.55000000000000004</c:v>
                </c:pt>
                <c:pt idx="24">
                  <c:v>0.55000000000000004</c:v>
                </c:pt>
                <c:pt idx="25">
                  <c:v>0.62</c:v>
                </c:pt>
              </c:numCache>
            </c:numRef>
          </c:val>
          <c:smooth val="0"/>
          <c:extLst>
            <c:ext xmlns:c16="http://schemas.microsoft.com/office/drawing/2014/chart" uri="{C3380CC4-5D6E-409C-BE32-E72D297353CC}">
              <c16:uniqueId val="{00000001-6A85-4DB3-A589-F0EEFA855EAC}"/>
            </c:ext>
          </c:extLst>
        </c:ser>
        <c:ser>
          <c:idx val="1"/>
          <c:order val="1"/>
          <c:tx>
            <c:strRef>
              <c:f>SM!$C$1</c:f>
              <c:strCache>
                <c:ptCount val="1"/>
                <c:pt idx="0">
                  <c:v>% of teams with at least 4 key SM in place</c:v>
                </c:pt>
              </c:strCache>
            </c:strRef>
          </c:tx>
          <c:spPr>
            <a:ln w="28575" cap="rnd">
              <a:solidFill>
                <a:srgbClr val="002060"/>
              </a:solidFill>
              <a:round/>
            </a:ln>
            <a:effectLst/>
          </c:spPr>
          <c:marker>
            <c:symbol val="none"/>
          </c:marker>
          <c:dLbls>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6A85-4DB3-A589-F0EEFA855EAC}"/>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A$2:$A$27</c:f>
              <c:strCache>
                <c:ptCount val="26"/>
                <c:pt idx="0">
                  <c:v>Baseline</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C$2:$C$27</c:f>
              <c:numCache>
                <c:formatCode>0%</c:formatCode>
                <c:ptCount val="26"/>
                <c:pt idx="0">
                  <c:v>0.02</c:v>
                </c:pt>
                <c:pt idx="1">
                  <c:v>0.03</c:v>
                </c:pt>
                <c:pt idx="2">
                  <c:v>0.03</c:v>
                </c:pt>
                <c:pt idx="3">
                  <c:v>0.04</c:v>
                </c:pt>
                <c:pt idx="4">
                  <c:v>0.06</c:v>
                </c:pt>
                <c:pt idx="5">
                  <c:v>0.09</c:v>
                </c:pt>
                <c:pt idx="6">
                  <c:v>0.13</c:v>
                </c:pt>
                <c:pt idx="7">
                  <c:v>0.19</c:v>
                </c:pt>
                <c:pt idx="8">
                  <c:v>0.28000000000000003</c:v>
                </c:pt>
                <c:pt idx="9">
                  <c:v>0.33</c:v>
                </c:pt>
                <c:pt idx="10">
                  <c:v>0.43</c:v>
                </c:pt>
                <c:pt idx="11">
                  <c:v>0.43</c:v>
                </c:pt>
                <c:pt idx="12">
                  <c:v>0.49</c:v>
                </c:pt>
                <c:pt idx="13">
                  <c:v>0.46</c:v>
                </c:pt>
                <c:pt idx="14">
                  <c:v>0.56000000000000005</c:v>
                </c:pt>
                <c:pt idx="15">
                  <c:v>0.59</c:v>
                </c:pt>
                <c:pt idx="16">
                  <c:v>0.57999999999999996</c:v>
                </c:pt>
                <c:pt idx="17">
                  <c:v>0.66666666666666663</c:v>
                </c:pt>
                <c:pt idx="18">
                  <c:v>0.73</c:v>
                </c:pt>
                <c:pt idx="19">
                  <c:v>0.76</c:v>
                </c:pt>
                <c:pt idx="20">
                  <c:v>0.78</c:v>
                </c:pt>
                <c:pt idx="21">
                  <c:v>0.78</c:v>
                </c:pt>
                <c:pt idx="22">
                  <c:v>0.78</c:v>
                </c:pt>
                <c:pt idx="23">
                  <c:v>0.76</c:v>
                </c:pt>
                <c:pt idx="24">
                  <c:v>0.76</c:v>
                </c:pt>
                <c:pt idx="25">
                  <c:v>0.84</c:v>
                </c:pt>
              </c:numCache>
            </c:numRef>
          </c:val>
          <c:smooth val="0"/>
          <c:extLst>
            <c:ext xmlns:c16="http://schemas.microsoft.com/office/drawing/2014/chart" uri="{C3380CC4-5D6E-409C-BE32-E72D297353CC}">
              <c16:uniqueId val="{00000003-6A85-4DB3-A589-F0EEFA855EAC}"/>
            </c:ext>
          </c:extLst>
        </c:ser>
        <c:ser>
          <c:idx val="2"/>
          <c:order val="2"/>
          <c:tx>
            <c:strRef>
              <c:f>SM!$D$1</c:f>
              <c:strCache>
                <c:ptCount val="1"/>
                <c:pt idx="0">
                  <c:v>% of teams with all 6 SM in place or working on it </c:v>
                </c:pt>
              </c:strCache>
            </c:strRef>
          </c:tx>
          <c:spPr>
            <a:ln w="28575" cap="rnd">
              <a:solidFill>
                <a:srgbClr val="6699FF"/>
              </a:solidFill>
              <a:round/>
            </a:ln>
            <a:effectLst/>
          </c:spPr>
          <c:marker>
            <c:symbol val="none"/>
          </c:marker>
          <c:dLbls>
            <c:dLbl>
              <c:idx val="25"/>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6A85-4DB3-A589-F0EEFA855EAC}"/>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M!$A$2:$A$27</c:f>
              <c:strCache>
                <c:ptCount val="26"/>
                <c:pt idx="0">
                  <c:v>Baseline</c:v>
                </c:pt>
                <c:pt idx="1">
                  <c:v>Jan-21</c:v>
                </c:pt>
                <c:pt idx="2">
                  <c:v>Feb-21</c:v>
                </c:pt>
                <c:pt idx="3">
                  <c:v>Mar-21</c:v>
                </c:pt>
                <c:pt idx="4">
                  <c:v>Apr-21</c:v>
                </c:pt>
                <c:pt idx="5">
                  <c:v>May-21</c:v>
                </c:pt>
                <c:pt idx="6">
                  <c:v>Jun-21</c:v>
                </c:pt>
                <c:pt idx="7">
                  <c:v>Jul-21</c:v>
                </c:pt>
                <c:pt idx="8">
                  <c:v>Aug-21</c:v>
                </c:pt>
                <c:pt idx="9">
                  <c:v>Sep-21</c:v>
                </c:pt>
                <c:pt idx="10">
                  <c:v>Oct-21</c:v>
                </c:pt>
                <c:pt idx="11">
                  <c:v>Nov-21</c:v>
                </c:pt>
                <c:pt idx="12">
                  <c:v>Dec-21</c:v>
                </c:pt>
                <c:pt idx="13">
                  <c:v>Jan-22</c:v>
                </c:pt>
                <c:pt idx="14">
                  <c:v>Feb-22</c:v>
                </c:pt>
                <c:pt idx="15">
                  <c:v>Mar-22</c:v>
                </c:pt>
                <c:pt idx="16">
                  <c:v>Apr-22</c:v>
                </c:pt>
                <c:pt idx="17">
                  <c:v>May-22</c:v>
                </c:pt>
                <c:pt idx="18">
                  <c:v>Jun-22</c:v>
                </c:pt>
                <c:pt idx="19">
                  <c:v>Jul-22</c:v>
                </c:pt>
                <c:pt idx="20">
                  <c:v>Aug-22</c:v>
                </c:pt>
                <c:pt idx="21">
                  <c:v>Sep-22</c:v>
                </c:pt>
                <c:pt idx="22">
                  <c:v>Oct-22</c:v>
                </c:pt>
                <c:pt idx="23">
                  <c:v>Nov-22</c:v>
                </c:pt>
                <c:pt idx="24">
                  <c:v>Dec-22</c:v>
                </c:pt>
                <c:pt idx="25">
                  <c:v>Jan-23</c:v>
                </c:pt>
              </c:strCache>
            </c:strRef>
          </c:cat>
          <c:val>
            <c:numRef>
              <c:f>SM!$D$2:$D$27</c:f>
              <c:numCache>
                <c:formatCode>0%</c:formatCode>
                <c:ptCount val="26"/>
                <c:pt idx="0">
                  <c:v>0.08</c:v>
                </c:pt>
                <c:pt idx="1">
                  <c:v>0.21</c:v>
                </c:pt>
                <c:pt idx="2">
                  <c:v>0.33</c:v>
                </c:pt>
                <c:pt idx="3">
                  <c:v>0.48</c:v>
                </c:pt>
                <c:pt idx="4">
                  <c:v>0.54</c:v>
                </c:pt>
                <c:pt idx="5">
                  <c:v>0.67</c:v>
                </c:pt>
                <c:pt idx="6">
                  <c:v>0.76</c:v>
                </c:pt>
                <c:pt idx="7">
                  <c:v>0.71</c:v>
                </c:pt>
                <c:pt idx="8">
                  <c:v>0.82</c:v>
                </c:pt>
                <c:pt idx="9">
                  <c:v>0.83</c:v>
                </c:pt>
                <c:pt idx="10">
                  <c:v>0.87</c:v>
                </c:pt>
                <c:pt idx="11">
                  <c:v>0.87</c:v>
                </c:pt>
                <c:pt idx="12">
                  <c:v>0.82</c:v>
                </c:pt>
                <c:pt idx="13">
                  <c:v>0.83</c:v>
                </c:pt>
                <c:pt idx="14">
                  <c:v>0.85</c:v>
                </c:pt>
                <c:pt idx="15">
                  <c:v>0.8</c:v>
                </c:pt>
                <c:pt idx="16">
                  <c:v>0.85</c:v>
                </c:pt>
                <c:pt idx="17">
                  <c:v>0.85</c:v>
                </c:pt>
                <c:pt idx="18">
                  <c:v>0.88</c:v>
                </c:pt>
                <c:pt idx="19">
                  <c:v>0.9</c:v>
                </c:pt>
                <c:pt idx="20">
                  <c:v>0.93</c:v>
                </c:pt>
                <c:pt idx="21">
                  <c:v>0.94</c:v>
                </c:pt>
                <c:pt idx="22">
                  <c:v>0.94</c:v>
                </c:pt>
                <c:pt idx="23">
                  <c:v>0.93</c:v>
                </c:pt>
                <c:pt idx="24">
                  <c:v>0.96</c:v>
                </c:pt>
                <c:pt idx="25">
                  <c:v>0.94</c:v>
                </c:pt>
              </c:numCache>
            </c:numRef>
          </c:val>
          <c:smooth val="0"/>
          <c:extLst>
            <c:ext xmlns:c16="http://schemas.microsoft.com/office/drawing/2014/chart" uri="{C3380CC4-5D6E-409C-BE32-E72D297353CC}">
              <c16:uniqueId val="{00000005-6A85-4DB3-A589-F0EEFA855EAC}"/>
            </c:ext>
          </c:extLst>
        </c:ser>
        <c:dLbls>
          <c:showLegendKey val="0"/>
          <c:showVal val="0"/>
          <c:showCatName val="0"/>
          <c:showSerName val="0"/>
          <c:showPercent val="0"/>
          <c:showBubbleSize val="0"/>
        </c:dLbls>
        <c:smooth val="0"/>
        <c:axId val="1761634048"/>
        <c:axId val="1761632384"/>
      </c:lineChart>
      <c:catAx>
        <c:axId val="176163404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mn-lt"/>
                <a:ea typeface="+mn-ea"/>
                <a:cs typeface="+mn-cs"/>
              </a:defRPr>
            </a:pPr>
            <a:endParaRPr lang="en-US"/>
          </a:p>
        </c:txPr>
        <c:crossAx val="1761632384"/>
        <c:crosses val="autoZero"/>
        <c:auto val="1"/>
        <c:lblAlgn val="ctr"/>
        <c:lblOffset val="100"/>
        <c:noMultiLvlLbl val="0"/>
      </c:catAx>
      <c:valAx>
        <c:axId val="1761632384"/>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1761634048"/>
        <c:crosses val="autoZero"/>
        <c:crossBetween val="between"/>
      </c:valAx>
      <c:spPr>
        <a:noFill/>
        <a:ln>
          <a:noFill/>
        </a:ln>
        <a:effectLst/>
      </c:spPr>
    </c:plotArea>
    <c:legend>
      <c:legendPos val="t"/>
      <c:overlay val="0"/>
      <c:spPr>
        <a:noFill/>
        <a:ln>
          <a:noFill/>
        </a:ln>
        <a:effectLst/>
      </c:spPr>
      <c:txPr>
        <a:bodyPr rot="0" spcFirstLastPara="1" vertOverflow="ellipsis" vert="horz" wrap="square" anchor="ctr" anchorCtr="1"/>
        <a:lstStyle/>
        <a:p>
          <a:pPr>
            <a:defRPr sz="1800" b="0" i="0" u="none" strike="noStrike" kern="1200" baseline="0">
              <a:solidFill>
                <a:schemeClr val="tx1">
                  <a:lumMod val="65000"/>
                  <a:lumOff val="35000"/>
                </a:schemeClr>
              </a:solidFill>
              <a:latin typeface="+mn-lt"/>
              <a:ea typeface="+mn-ea"/>
              <a:cs typeface="+mn-cs"/>
            </a:defRPr>
          </a:pPr>
          <a:endParaRPr lang="en-US"/>
        </a:p>
      </c:txPr>
    </c:legend>
    <c:plotVisOnly val="1"/>
    <c:dispBlanksAs val="gap"/>
    <c:showDLblsOverMax val="0"/>
  </c:chart>
  <c:spPr>
    <a:noFill/>
    <a:ln>
      <a:noFill/>
    </a:ln>
    <a:effectLst/>
  </c:spPr>
  <c:txPr>
    <a:bodyPr/>
    <a:lstStyle/>
    <a:p>
      <a:pPr>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r>
              <a:rPr lang="en-US" sz="2000"/>
              <a:t>NTSV C-Section Rate</a:t>
            </a:r>
            <a:r>
              <a:rPr lang="en-US" sz="2000" baseline="0"/>
              <a:t> by Hospital </a:t>
            </a:r>
          </a:p>
          <a:p>
            <a:pPr>
              <a:defRPr sz="2000"/>
            </a:pPr>
            <a:r>
              <a:rPr lang="en-US" sz="2000" baseline="0"/>
              <a:t>Q4 2022</a:t>
            </a:r>
          </a:p>
        </c:rich>
      </c:tx>
      <c:overlay val="0"/>
      <c:spPr>
        <a:noFill/>
        <a:ln>
          <a:noFill/>
        </a:ln>
        <a:effectLst/>
      </c:spPr>
      <c:txPr>
        <a:bodyPr rot="0" spcFirstLastPara="1" vertOverflow="ellipsis" vert="horz" wrap="square" anchor="ctr" anchorCtr="1"/>
        <a:lstStyle/>
        <a:p>
          <a:pPr>
            <a:defRPr sz="20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spPr>
            <a:solidFill>
              <a:schemeClr val="accent1"/>
            </a:solidFill>
            <a:ln>
              <a:noFill/>
            </a:ln>
            <a:effectLst/>
          </c:spPr>
          <c:invertIfNegative val="0"/>
          <c:dPt>
            <c:idx val="11"/>
            <c:invertIfNegative val="0"/>
            <c:bubble3D val="0"/>
            <c:spPr>
              <a:solidFill>
                <a:schemeClr val="accent1"/>
              </a:solidFill>
              <a:ln w="38100">
                <a:noFill/>
              </a:ln>
              <a:effectLst/>
            </c:spPr>
            <c:extLst>
              <c:ext xmlns:c16="http://schemas.microsoft.com/office/drawing/2014/chart" uri="{C3380CC4-5D6E-409C-BE32-E72D297353CC}">
                <c16:uniqueId val="{00000001-3C3C-453D-98AC-8D3317C6035E}"/>
              </c:ext>
            </c:extLst>
          </c:dPt>
          <c:dPt>
            <c:idx val="21"/>
            <c:invertIfNegative val="0"/>
            <c:bubble3D val="0"/>
            <c:spPr>
              <a:solidFill>
                <a:srgbClr val="7030A0"/>
              </a:solidFill>
              <a:ln w="38100">
                <a:solidFill>
                  <a:srgbClr val="7030A0"/>
                </a:solidFill>
              </a:ln>
              <a:effectLst/>
            </c:spPr>
            <c:extLst>
              <c:ext xmlns:c16="http://schemas.microsoft.com/office/drawing/2014/chart" uri="{C3380CC4-5D6E-409C-BE32-E72D297353CC}">
                <c16:uniqueId val="{00000003-3C3C-453D-98AC-8D3317C6035E}"/>
              </c:ext>
            </c:extLst>
          </c:dPt>
          <c:dLbls>
            <c:dLbl>
              <c:idx val="21"/>
              <c:layout>
                <c:manualLayout>
                  <c:x val="5.8328357051848278E-3"/>
                  <c:y val="-4.3638015887148329E-2"/>
                </c:manualLayout>
              </c:layout>
              <c:spPr>
                <a:noFill/>
                <a:ln w="28575">
                  <a:solidFill>
                    <a:srgbClr val="7030A0"/>
                  </a:solid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en-US"/>
                </a:p>
              </c:txP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C3C-453D-98AC-8D3317C6035E}"/>
                </c:ext>
              </c:extLst>
            </c:dLbl>
            <c:spPr>
              <a:noFill/>
              <a:ln>
                <a:noFill/>
              </a:ln>
              <a:effectLst/>
            </c:spPr>
            <c:txPr>
              <a:bodyPr rot="0" spcFirstLastPara="1" vertOverflow="ellipsis" vert="horz" wrap="square" lIns="38100" tIns="19050" rIns="38100" bIns="19050" anchor="ctr" anchorCtr="1">
                <a:spAutoFit/>
              </a:bodyPr>
              <a:lstStyle/>
              <a:p>
                <a:pPr>
                  <a:defRPr sz="28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val>
            <c:numRef>
              <c:f>'Q4 2022'!$A$1:$A$55</c:f>
              <c:numCache>
                <c:formatCode>0.00%</c:formatCode>
                <c:ptCount val="55"/>
                <c:pt idx="0">
                  <c:v>0</c:v>
                </c:pt>
                <c:pt idx="1">
                  <c:v>0</c:v>
                </c:pt>
                <c:pt idx="2">
                  <c:v>8.1967213114754092E-2</c:v>
                </c:pt>
                <c:pt idx="3">
                  <c:v>8.3333333333333329E-2</c:v>
                </c:pt>
                <c:pt idx="4">
                  <c:v>9.5238095238095233E-2</c:v>
                </c:pt>
                <c:pt idx="5">
                  <c:v>0.11363636363636363</c:v>
                </c:pt>
                <c:pt idx="6">
                  <c:v>0.11428571428571428</c:v>
                </c:pt>
                <c:pt idx="7">
                  <c:v>0.11475409836065574</c:v>
                </c:pt>
                <c:pt idx="8">
                  <c:v>0.14285714285714285</c:v>
                </c:pt>
                <c:pt idx="9">
                  <c:v>0.14285714285714285</c:v>
                </c:pt>
                <c:pt idx="10">
                  <c:v>0.14666666666666667</c:v>
                </c:pt>
                <c:pt idx="11">
                  <c:v>0.15702479338842976</c:v>
                </c:pt>
                <c:pt idx="12">
                  <c:v>0.15789473684210525</c:v>
                </c:pt>
                <c:pt idx="13">
                  <c:v>0.16</c:v>
                </c:pt>
                <c:pt idx="14">
                  <c:v>0.16494845360824742</c:v>
                </c:pt>
                <c:pt idx="15">
                  <c:v>0.16666666666666666</c:v>
                </c:pt>
                <c:pt idx="16">
                  <c:v>0.18032786885245902</c:v>
                </c:pt>
                <c:pt idx="17">
                  <c:v>0.18518518518518517</c:v>
                </c:pt>
                <c:pt idx="18">
                  <c:v>0.19047619047619047</c:v>
                </c:pt>
                <c:pt idx="19">
                  <c:v>0.20394736842105263</c:v>
                </c:pt>
                <c:pt idx="20">
                  <c:v>0.20655737704918034</c:v>
                </c:pt>
                <c:pt idx="21">
                  <c:v>0.20915178571428572</c:v>
                </c:pt>
                <c:pt idx="22">
                  <c:v>0.21341463414634146</c:v>
                </c:pt>
                <c:pt idx="23">
                  <c:v>0.21428571428571427</c:v>
                </c:pt>
                <c:pt idx="24">
                  <c:v>0.2153846153846154</c:v>
                </c:pt>
                <c:pt idx="25">
                  <c:v>0.22</c:v>
                </c:pt>
                <c:pt idx="26">
                  <c:v>0.22151898734177214</c:v>
                </c:pt>
                <c:pt idx="27">
                  <c:v>0.22222222222222221</c:v>
                </c:pt>
                <c:pt idx="28">
                  <c:v>0.22222222222222221</c:v>
                </c:pt>
                <c:pt idx="29">
                  <c:v>0.22222222222222221</c:v>
                </c:pt>
                <c:pt idx="30">
                  <c:v>0.22302158273381295</c:v>
                </c:pt>
                <c:pt idx="31">
                  <c:v>0.22727272727272727</c:v>
                </c:pt>
                <c:pt idx="32">
                  <c:v>0.22727272727272727</c:v>
                </c:pt>
                <c:pt idx="33">
                  <c:v>0.23076923076923078</c:v>
                </c:pt>
                <c:pt idx="34">
                  <c:v>0.23076923076923078</c:v>
                </c:pt>
                <c:pt idx="35">
                  <c:v>0.23749999999999999</c:v>
                </c:pt>
                <c:pt idx="36">
                  <c:v>0.24</c:v>
                </c:pt>
                <c:pt idx="37">
                  <c:v>0.24043715846994534</c:v>
                </c:pt>
                <c:pt idx="38">
                  <c:v>0.24242424242424243</c:v>
                </c:pt>
                <c:pt idx="39">
                  <c:v>0.2440677966101695</c:v>
                </c:pt>
                <c:pt idx="40">
                  <c:v>0.24545454545454545</c:v>
                </c:pt>
                <c:pt idx="41">
                  <c:v>0.24766355140186916</c:v>
                </c:pt>
                <c:pt idx="42">
                  <c:v>0.2510460251046025</c:v>
                </c:pt>
                <c:pt idx="43">
                  <c:v>0.26056338028169013</c:v>
                </c:pt>
                <c:pt idx="44">
                  <c:v>0.27472527472527475</c:v>
                </c:pt>
                <c:pt idx="45">
                  <c:v>0.27586206896551724</c:v>
                </c:pt>
                <c:pt idx="46">
                  <c:v>0.27586206896551724</c:v>
                </c:pt>
                <c:pt idx="47">
                  <c:v>0.28813559322033899</c:v>
                </c:pt>
                <c:pt idx="48">
                  <c:v>0.28888888888888886</c:v>
                </c:pt>
                <c:pt idx="49">
                  <c:v>0.29452054794520549</c:v>
                </c:pt>
                <c:pt idx="50">
                  <c:v>0.29577464788732394</c:v>
                </c:pt>
                <c:pt idx="51">
                  <c:v>0.29591836734693877</c:v>
                </c:pt>
                <c:pt idx="52">
                  <c:v>0.30952380952380953</c:v>
                </c:pt>
                <c:pt idx="53">
                  <c:v>0.31730769230769229</c:v>
                </c:pt>
                <c:pt idx="54">
                  <c:v>0.31879194630872482</c:v>
                </c:pt>
              </c:numCache>
            </c:numRef>
          </c:val>
          <c:extLst>
            <c:ext xmlns:c16="http://schemas.microsoft.com/office/drawing/2014/chart" uri="{C3380CC4-5D6E-409C-BE32-E72D297353CC}">
              <c16:uniqueId val="{00000004-3C3C-453D-98AC-8D3317C6035E}"/>
            </c:ext>
          </c:extLst>
        </c:ser>
        <c:dLbls>
          <c:showLegendKey val="0"/>
          <c:showVal val="0"/>
          <c:showCatName val="0"/>
          <c:showSerName val="0"/>
          <c:showPercent val="0"/>
          <c:showBubbleSize val="0"/>
        </c:dLbls>
        <c:gapWidth val="219"/>
        <c:overlap val="-27"/>
        <c:axId val="848227823"/>
        <c:axId val="848229487"/>
      </c:barChart>
      <c:catAx>
        <c:axId val="848227823"/>
        <c:scaling>
          <c:orientation val="minMax"/>
        </c:scaling>
        <c:delete val="1"/>
        <c:axPos val="b"/>
        <c:numFmt formatCode="General" sourceLinked="1"/>
        <c:majorTickMark val="none"/>
        <c:minorTickMark val="none"/>
        <c:tickLblPos val="nextTo"/>
        <c:crossAx val="848229487"/>
        <c:crosses val="autoZero"/>
        <c:auto val="1"/>
        <c:lblAlgn val="ctr"/>
        <c:lblOffset val="100"/>
        <c:noMultiLvlLbl val="0"/>
      </c:catAx>
      <c:valAx>
        <c:axId val="848229487"/>
        <c:scaling>
          <c:orientation val="minMax"/>
          <c:max val="0.5"/>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en-US"/>
          </a:p>
        </c:txPr>
        <c:crossAx val="848227823"/>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33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modernComment_11E_DF8D3417.xml><?xml version="1.0" encoding="utf-8"?>
<p188:cmLst xmlns:a="http://schemas.openxmlformats.org/drawingml/2006/main" xmlns:r="http://schemas.openxmlformats.org/officeDocument/2006/relationships" xmlns:p188="http://schemas.microsoft.com/office/powerpoint/2018/8/main">
  <p188:cm id="{5BF5BA98-FF43-49AE-BE99-9A9FE4297874}" authorId="{866AA8C0-A40A-4549-B1BD-CB0F1B5845F6}" status="resolved" created="2022-05-21T04:58:56.109" complete="100000">
    <ac:deMkLst xmlns:ac="http://schemas.microsoft.com/office/drawing/2013/main/command">
      <pc:docMk xmlns:pc="http://schemas.microsoft.com/office/powerpoint/2013/main/command"/>
      <pc:sldMk xmlns:pc="http://schemas.microsoft.com/office/powerpoint/2013/main/command" cId="3136314208" sldId="289"/>
      <ac:graphicFrameMk id="6" creationId="{00000000-0000-0000-0000-000000000000}"/>
    </ac:deMkLst>
    <p188:replyLst>
      <p188:reply id="{B37296DE-E9CA-4027-A684-8AB3576FC6AA}" authorId="{B1E8E1CE-C373-4BDB-0D3F-F84FE1DA86D4}" created="2022-05-22T21:07:41.434">
        <p188:txBody>
          <a:bodyPr/>
          <a:lstStyle/>
          <a:p>
            <a:r>
              <a:rPr lang="en-US"/>
              <a:t>done</a:t>
            </a:r>
          </a:p>
        </p188:txBody>
      </p188:reply>
    </p188:replyLst>
    <p188:txBody>
      <a:bodyPr/>
      <a:lstStyle/>
      <a:p>
        <a:r>
          <a:rPr lang="en-US"/>
          <a:t>NTSV C-Section Rate should be &lt; or equal to 23.6%...not of 23.6%.  </a:t>
        </a:r>
      </a:p>
    </p188:txBody>
  </p188:cm>
</p188:cmLst>
</file>

<file path=ppt/diagrams/colors1.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F7A72CD-D92F-4C60-BE1A-7BC2D023BB05}" type="doc">
      <dgm:prSet loTypeId="urn:microsoft.com/office/officeart/2005/8/layout/hProcess4" loCatId="process" qsTypeId="urn:microsoft.com/office/officeart/2005/8/quickstyle/simple1" qsCatId="simple" csTypeId="urn:microsoft.com/office/officeart/2005/8/colors/colorful3" csCatId="colorful" phldr="1"/>
      <dgm:spPr/>
    </dgm:pt>
    <dgm:pt modelId="{019695E6-A658-4897-80F2-A08CC8E51471}">
      <dgm:prSet phldrT="[Text]"/>
      <dgm:spPr/>
      <dgm:t>
        <a:bodyPr/>
        <a:lstStyle/>
        <a:p>
          <a:pPr rtl="0"/>
          <a:r>
            <a:rPr lang="en-US">
              <a:solidFill>
                <a:schemeClr val="accent1"/>
              </a:solidFill>
              <a:latin typeface="Arial"/>
              <a:cs typeface="Arial"/>
            </a:rPr>
            <a:t> </a:t>
          </a:r>
          <a:r>
            <a:rPr lang="en-US" b="1">
              <a:solidFill>
                <a:schemeClr val="accent1"/>
              </a:solidFill>
              <a:latin typeface="Arial"/>
              <a:cs typeface="Arial"/>
            </a:rPr>
            <a:t>Save the Dates!</a:t>
          </a:r>
        </a:p>
      </dgm:t>
    </dgm:pt>
    <dgm:pt modelId="{B686F262-5B44-47A7-8841-EAC8EC87E6C1}" type="parTrans" cxnId="{E6A3CBF4-6DCE-4383-8444-BEE5F48809C6}">
      <dgm:prSet/>
      <dgm:spPr/>
    </dgm:pt>
    <dgm:pt modelId="{91B26892-AE2C-4A26-9563-AE9E9F1FA72C}" type="sibTrans" cxnId="{E6A3CBF4-6DCE-4383-8444-BEE5F48809C6}">
      <dgm:prSet/>
      <dgm:spPr/>
      <dgm:t>
        <a:bodyPr/>
        <a:lstStyle/>
        <a:p>
          <a:endParaRPr lang="en-US"/>
        </a:p>
      </dgm:t>
    </dgm:pt>
    <dgm:pt modelId="{5C1DD914-EF33-4EF3-B221-C3F33C853A5A}">
      <dgm:prSet phldrT="[Text]"/>
      <dgm:spPr/>
      <dgm:t>
        <a:bodyPr/>
        <a:lstStyle/>
        <a:p>
          <a:pPr rtl="0"/>
          <a:r>
            <a:rPr lang="en-US" b="1">
              <a:solidFill>
                <a:schemeClr val="accent1"/>
              </a:solidFill>
              <a:latin typeface="Arial"/>
              <a:cs typeface="Arial"/>
            </a:rPr>
            <a:t>Submit your Data!</a:t>
          </a:r>
          <a:r>
            <a:rPr lang="en-US">
              <a:solidFill>
                <a:schemeClr val="accent1"/>
              </a:solidFill>
              <a:latin typeface="Arial"/>
              <a:cs typeface="Arial"/>
            </a:rPr>
            <a:t> </a:t>
          </a:r>
        </a:p>
      </dgm:t>
    </dgm:pt>
    <dgm:pt modelId="{7B5EAACE-94C5-4928-9134-CA8DE1E36EAC}" type="parTrans" cxnId="{C0F52AD4-B4F8-41F8-B1E1-BF422735979D}">
      <dgm:prSet/>
      <dgm:spPr/>
    </dgm:pt>
    <dgm:pt modelId="{F621EE85-7E3C-4D1D-A5C4-83C833F67D2F}" type="sibTrans" cxnId="{C0F52AD4-B4F8-41F8-B1E1-BF422735979D}">
      <dgm:prSet/>
      <dgm:spPr/>
      <dgm:t>
        <a:bodyPr/>
        <a:lstStyle/>
        <a:p>
          <a:endParaRPr lang="en-US"/>
        </a:p>
      </dgm:t>
    </dgm:pt>
    <dgm:pt modelId="{B6FEE040-5E22-4FBA-80BD-772A56465F90}">
      <dgm:prSet phldrT="[Text]"/>
      <dgm:spPr/>
      <dgm:t>
        <a:bodyPr/>
        <a:lstStyle/>
        <a:p>
          <a:pPr rtl="0"/>
          <a:r>
            <a:rPr lang="en-US">
              <a:solidFill>
                <a:schemeClr val="accent1"/>
              </a:solidFill>
              <a:latin typeface="Arial"/>
              <a:cs typeface="Arial"/>
            </a:rPr>
            <a:t>Submit </a:t>
          </a:r>
          <a:r>
            <a:rPr lang="en-US" b="1" u="sng">
              <a:solidFill>
                <a:schemeClr val="accent1"/>
              </a:solidFill>
              <a:latin typeface="Arial"/>
              <a:cs typeface="Arial"/>
            </a:rPr>
            <a:t>all your 2022 data</a:t>
          </a:r>
          <a:r>
            <a:rPr lang="en-US">
              <a:solidFill>
                <a:schemeClr val="accent1"/>
              </a:solidFill>
              <a:latin typeface="Arial"/>
              <a:cs typeface="Arial"/>
            </a:rPr>
            <a:t> plus </a:t>
          </a:r>
          <a:r>
            <a:rPr lang="en-US" b="1" u="sng">
              <a:solidFill>
                <a:schemeClr val="accent1"/>
              </a:solidFill>
              <a:latin typeface="Arial"/>
              <a:cs typeface="Arial"/>
            </a:rPr>
            <a:t>January, February, March 2023</a:t>
          </a:r>
        </a:p>
      </dgm:t>
    </dgm:pt>
    <dgm:pt modelId="{8CE72970-5FE5-419C-8904-F03CDA749BCA}" type="parTrans" cxnId="{BA632924-67ED-4ECF-9A7B-9C1A161F2962}">
      <dgm:prSet/>
      <dgm:spPr/>
    </dgm:pt>
    <dgm:pt modelId="{C7937236-40A7-4EEE-A278-4CA99EC3F59C}" type="sibTrans" cxnId="{BA632924-67ED-4ECF-9A7B-9C1A161F2962}">
      <dgm:prSet/>
      <dgm:spPr/>
      <dgm:t>
        <a:bodyPr/>
        <a:lstStyle/>
        <a:p>
          <a:endParaRPr lang="en-US"/>
        </a:p>
      </dgm:t>
    </dgm:pt>
    <dgm:pt modelId="{3456AB0F-96D4-4A97-8F82-64AE552EF6FB}">
      <dgm:prSet phldr="0"/>
      <dgm:spPr/>
      <dgm:t>
        <a:bodyPr/>
        <a:lstStyle/>
        <a:p>
          <a:pPr rtl="0"/>
          <a:r>
            <a:rPr lang="en-US">
              <a:solidFill>
                <a:schemeClr val="accent1"/>
              </a:solidFill>
              <a:latin typeface="Arial"/>
              <a:cs typeface="Arial"/>
            </a:rPr>
            <a:t>OB- May 24th, Wednesday</a:t>
          </a:r>
        </a:p>
      </dgm:t>
    </dgm:pt>
    <dgm:pt modelId="{284D4E98-45C6-4808-A7A3-BF108FD2DDFB}" type="parTrans" cxnId="{D57DC5A3-62AB-4A91-BBF8-F2DF04AF875E}">
      <dgm:prSet/>
      <dgm:spPr/>
    </dgm:pt>
    <dgm:pt modelId="{9E69DAB2-AA26-49ED-A477-8A58EC04F4DD}" type="sibTrans" cxnId="{D57DC5A3-62AB-4A91-BBF8-F2DF04AF875E}">
      <dgm:prSet/>
      <dgm:spPr/>
      <dgm:t>
        <a:bodyPr/>
        <a:lstStyle/>
        <a:p>
          <a:endParaRPr lang="en-US"/>
        </a:p>
      </dgm:t>
    </dgm:pt>
    <dgm:pt modelId="{05769790-14E8-4148-9EFC-2DA79A5686F2}">
      <dgm:prSet phldr="0"/>
      <dgm:spPr/>
      <dgm:t>
        <a:bodyPr/>
        <a:lstStyle/>
        <a:p>
          <a:pPr rtl="0"/>
          <a:r>
            <a:rPr lang="en-US">
              <a:solidFill>
                <a:schemeClr val="accent1"/>
              </a:solidFill>
              <a:latin typeface="Arial"/>
              <a:cs typeface="Arial"/>
            </a:rPr>
            <a:t>Neonatal- May 25th, Thursday</a:t>
          </a:r>
        </a:p>
      </dgm:t>
    </dgm:pt>
    <dgm:pt modelId="{E61EDA08-B100-421F-BC98-E5710E28E044}" type="parTrans" cxnId="{AD66E8C7-2AF9-4795-BF53-F9B54D9ACAD3}">
      <dgm:prSet/>
      <dgm:spPr/>
    </dgm:pt>
    <dgm:pt modelId="{792B1C38-7CC7-43E8-85FE-86B5CFE34B39}" type="sibTrans" cxnId="{AD66E8C7-2AF9-4795-BF53-F9B54D9ACAD3}">
      <dgm:prSet/>
      <dgm:spPr/>
      <dgm:t>
        <a:bodyPr/>
        <a:lstStyle/>
        <a:p>
          <a:endParaRPr lang="en-US"/>
        </a:p>
      </dgm:t>
    </dgm:pt>
    <dgm:pt modelId="{38870418-F509-4025-AB43-C99E58E9D509}">
      <dgm:prSet phldr="0"/>
      <dgm:spPr/>
      <dgm:t>
        <a:bodyPr/>
        <a:lstStyle/>
        <a:p>
          <a:pPr rtl="0"/>
          <a:r>
            <a:rPr lang="en-US" b="1">
              <a:solidFill>
                <a:schemeClr val="accent1"/>
              </a:solidFill>
              <a:latin typeface="Arial"/>
              <a:cs typeface="Arial"/>
            </a:rPr>
            <a:t> Storyboard Submissions!</a:t>
          </a:r>
        </a:p>
      </dgm:t>
    </dgm:pt>
    <dgm:pt modelId="{9C76E2A0-B157-420D-8410-B5B6DDAAAFE6}" type="parTrans" cxnId="{DA35413F-16A0-4FBA-B218-10D3E4F6732F}">
      <dgm:prSet/>
      <dgm:spPr/>
    </dgm:pt>
    <dgm:pt modelId="{8329EFE1-D519-46F7-9819-CE374241DFA4}" type="sibTrans" cxnId="{DA35413F-16A0-4FBA-B218-10D3E4F6732F}">
      <dgm:prSet/>
      <dgm:spPr/>
      <dgm:t>
        <a:bodyPr/>
        <a:lstStyle/>
        <a:p>
          <a:endParaRPr lang="en-US"/>
        </a:p>
      </dgm:t>
    </dgm:pt>
    <dgm:pt modelId="{99B110F8-6A29-4B06-8B52-0FF5AC6D254D}">
      <dgm:prSet phldr="0"/>
      <dgm:spPr/>
      <dgm:t>
        <a:bodyPr/>
        <a:lstStyle/>
        <a:p>
          <a:pPr rtl="0"/>
          <a:r>
            <a:rPr lang="en-US" b="0">
              <a:solidFill>
                <a:schemeClr val="accent1"/>
              </a:solidFill>
              <a:latin typeface="Arial"/>
              <a:cs typeface="Arial"/>
            </a:rPr>
            <a:t>Share your successes, opportunities, and specific strategies implemented! </a:t>
          </a:r>
        </a:p>
      </dgm:t>
    </dgm:pt>
    <dgm:pt modelId="{412B8E3B-A82C-4A7B-9FC8-1B3F408D4184}" type="parTrans" cxnId="{D0C5C968-8BE5-48EA-8C09-706A92AB48B5}">
      <dgm:prSet/>
      <dgm:spPr/>
    </dgm:pt>
    <dgm:pt modelId="{A07D58BA-57FF-4630-9AC9-A0F60EC5736C}" type="sibTrans" cxnId="{D0C5C968-8BE5-48EA-8C09-706A92AB48B5}">
      <dgm:prSet/>
      <dgm:spPr/>
    </dgm:pt>
    <dgm:pt modelId="{3DE293D2-6123-404E-A2C4-31713D59157B}">
      <dgm:prSet phldr="0"/>
      <dgm:spPr/>
      <dgm:t>
        <a:bodyPr/>
        <a:lstStyle/>
        <a:p>
          <a:pPr rtl="0"/>
          <a:r>
            <a:rPr lang="en-US" b="0" dirty="0">
              <a:solidFill>
                <a:schemeClr val="accent1"/>
              </a:solidFill>
              <a:latin typeface="Arial"/>
              <a:cs typeface="Arial"/>
            </a:rPr>
            <a:t>Share your DATA, graphs, PDSA cycles, process flow or 30/60/90 plans</a:t>
          </a:r>
        </a:p>
      </dgm:t>
    </dgm:pt>
    <dgm:pt modelId="{70FB02EA-3F70-46C7-96FD-12AC172E9174}" type="parTrans" cxnId="{73B62374-B279-4EB3-B133-ABA26F3780E1}">
      <dgm:prSet/>
      <dgm:spPr/>
    </dgm:pt>
    <dgm:pt modelId="{7BE67B6B-00C9-4D6D-8701-A8D78BA26FFA}" type="sibTrans" cxnId="{73B62374-B279-4EB3-B133-ABA26F3780E1}">
      <dgm:prSet/>
      <dgm:spPr/>
    </dgm:pt>
    <dgm:pt modelId="{B692733A-5AE6-4ECB-8111-57F9EDD9409F}">
      <dgm:prSet phldr="0"/>
      <dgm:spPr/>
      <dgm:t>
        <a:bodyPr/>
        <a:lstStyle/>
        <a:p>
          <a:pPr rtl="0"/>
          <a:r>
            <a:rPr lang="en-US" b="0" u="none">
              <a:solidFill>
                <a:schemeClr val="accent1"/>
              </a:solidFill>
              <a:latin typeface="Arial"/>
              <a:cs typeface="Arial"/>
            </a:rPr>
            <a:t>Review the award criteria for PVB, BE, and BASIC to achieve QI Excellence! </a:t>
          </a:r>
        </a:p>
      </dgm:t>
    </dgm:pt>
    <dgm:pt modelId="{26F0D997-187B-4259-A25A-8043A7B50CC5}" type="parTrans" cxnId="{ABAF1395-9A49-40D2-BD7B-2FE7CD74AA24}">
      <dgm:prSet/>
      <dgm:spPr/>
    </dgm:pt>
    <dgm:pt modelId="{6C5D385B-F1D8-49C4-BE45-F31745C0EC23}" type="sibTrans" cxnId="{ABAF1395-9A49-40D2-BD7B-2FE7CD74AA24}">
      <dgm:prSet/>
      <dgm:spPr/>
      <dgm:t>
        <a:bodyPr/>
        <a:lstStyle/>
        <a:p>
          <a:endParaRPr lang="en-US"/>
        </a:p>
      </dgm:t>
    </dgm:pt>
    <dgm:pt modelId="{D9C7E703-DE61-45CD-A076-3B7868D3DE65}">
      <dgm:prSet phldr="0"/>
      <dgm:spPr/>
      <dgm:t>
        <a:bodyPr/>
        <a:lstStyle/>
        <a:p>
          <a:pPr rtl="0"/>
          <a:r>
            <a:rPr lang="en-US" b="1" dirty="0">
              <a:solidFill>
                <a:schemeClr val="accent1"/>
              </a:solidFill>
              <a:latin typeface="Arial"/>
              <a:cs typeface="Arial"/>
            </a:rPr>
            <a:t>Start brainstorming your storyboard ideas! </a:t>
          </a:r>
        </a:p>
      </dgm:t>
    </dgm:pt>
    <dgm:pt modelId="{6C4A08EF-FCAD-407D-8F21-9E4C9FF1A351}" type="parTrans" cxnId="{E4CF87A7-5229-44E6-8B7F-268AF8628575}">
      <dgm:prSet/>
      <dgm:spPr/>
    </dgm:pt>
    <dgm:pt modelId="{B4AA8A62-5BB9-4CA4-827A-ECB285FBE9D9}" type="sibTrans" cxnId="{E4CF87A7-5229-44E6-8B7F-268AF8628575}">
      <dgm:prSet/>
      <dgm:spPr/>
    </dgm:pt>
    <dgm:pt modelId="{1FAFA9EB-E8A9-463D-AF35-5071306926A9}">
      <dgm:prSet phldr="0"/>
      <dgm:spPr/>
      <dgm:t>
        <a:bodyPr/>
        <a:lstStyle/>
        <a:p>
          <a:pPr rtl="0"/>
          <a:r>
            <a:rPr lang="en-US" b="0">
              <a:solidFill>
                <a:schemeClr val="accent1"/>
              </a:solidFill>
              <a:latin typeface="Arial"/>
              <a:cs typeface="Arial"/>
            </a:rPr>
            <a:t>ILPQC Room Block TBA</a:t>
          </a:r>
        </a:p>
      </dgm:t>
    </dgm:pt>
    <dgm:pt modelId="{68183127-8420-483B-A71A-713799AA4CF1}" type="parTrans" cxnId="{14F8C6DA-95E1-4521-9875-06DD633897CD}">
      <dgm:prSet/>
      <dgm:spPr/>
    </dgm:pt>
    <dgm:pt modelId="{909CB53E-E523-4746-9CB4-96EE17052C61}" type="sibTrans" cxnId="{14F8C6DA-95E1-4521-9875-06DD633897CD}">
      <dgm:prSet/>
      <dgm:spPr/>
      <dgm:t>
        <a:bodyPr/>
        <a:lstStyle/>
        <a:p>
          <a:endParaRPr lang="en-US"/>
        </a:p>
      </dgm:t>
    </dgm:pt>
    <dgm:pt modelId="{B55E4287-18D6-44F9-9998-27DFC3DE3899}">
      <dgm:prSet phldr="0"/>
      <dgm:spPr/>
      <dgm:t>
        <a:bodyPr/>
        <a:lstStyle/>
        <a:p>
          <a:endParaRPr lang="en-US" b="1">
            <a:latin typeface="Arial"/>
            <a:cs typeface="Arial"/>
          </a:endParaRPr>
        </a:p>
      </dgm:t>
    </dgm:pt>
    <dgm:pt modelId="{E2B3B95E-8796-44D3-BBC5-932F32BF5AC2}" type="parTrans" cxnId="{38B8EFEA-2AC2-4508-B50C-D7096BAE04EF}">
      <dgm:prSet/>
      <dgm:spPr/>
    </dgm:pt>
    <dgm:pt modelId="{2F179F31-BBE7-48BC-8DC5-9CCC405069A8}" type="sibTrans" cxnId="{38B8EFEA-2AC2-4508-B50C-D7096BAE04EF}">
      <dgm:prSet/>
      <dgm:spPr/>
    </dgm:pt>
    <dgm:pt modelId="{5F275E72-DEDE-4BE9-A7B5-93C830029A15}">
      <dgm:prSet phldr="0"/>
      <dgm:spPr/>
      <dgm:t>
        <a:bodyPr/>
        <a:lstStyle/>
        <a:p>
          <a:endParaRPr lang="en-US">
            <a:latin typeface="Arial"/>
            <a:cs typeface="Arial"/>
          </a:endParaRPr>
        </a:p>
      </dgm:t>
    </dgm:pt>
    <dgm:pt modelId="{D5CCC266-121D-4FB7-B8E0-516F0C01AFEC}" type="parTrans" cxnId="{81425F3F-1CCF-4D6E-BB0F-C590667BBA3A}">
      <dgm:prSet/>
      <dgm:spPr/>
    </dgm:pt>
    <dgm:pt modelId="{E8DC0D8F-A6AC-4AF4-9AF2-322C446DCFBB}" type="sibTrans" cxnId="{81425F3F-1CCF-4D6E-BB0F-C590667BBA3A}">
      <dgm:prSet/>
      <dgm:spPr/>
    </dgm:pt>
    <dgm:pt modelId="{6AF44131-5722-4528-8937-2F2D64962EE0}">
      <dgm:prSet phldr="0"/>
      <dgm:spPr/>
      <dgm:t>
        <a:bodyPr/>
        <a:lstStyle/>
        <a:p>
          <a:endParaRPr lang="en-US" b="0">
            <a:latin typeface="Arial"/>
            <a:cs typeface="Arial"/>
          </a:endParaRPr>
        </a:p>
      </dgm:t>
    </dgm:pt>
    <dgm:pt modelId="{98702443-CD9D-4441-AC80-29164C564037}" type="parTrans" cxnId="{9C65F14F-67CC-43B9-A2E9-DA01456F543B}">
      <dgm:prSet/>
      <dgm:spPr/>
    </dgm:pt>
    <dgm:pt modelId="{5849B39F-B1B2-4986-93B1-B2E021C29B5F}" type="sibTrans" cxnId="{9C65F14F-67CC-43B9-A2E9-DA01456F543B}">
      <dgm:prSet/>
      <dgm:spPr/>
    </dgm:pt>
    <dgm:pt modelId="{358B0361-FAD6-4712-9D01-4D9D4D4C5B71}">
      <dgm:prSet phldr="0"/>
      <dgm:spPr/>
      <dgm:t>
        <a:bodyPr/>
        <a:lstStyle/>
        <a:p>
          <a:r>
            <a:rPr lang="en-US" b="1">
              <a:solidFill>
                <a:schemeClr val="accent1"/>
              </a:solidFill>
              <a:latin typeface="Arial"/>
              <a:cs typeface="Arial"/>
            </a:rPr>
            <a:t>President Abraham Lincoln Hotel, Springfield, IL</a:t>
          </a:r>
          <a:endParaRPr lang="en-US" b="1"/>
        </a:p>
      </dgm:t>
    </dgm:pt>
    <dgm:pt modelId="{27010C45-65D8-423F-A9E9-1020F07F9EA1}" type="parTrans" cxnId="{145ABA86-23C2-47A6-B88A-1443578EFE3A}">
      <dgm:prSet/>
      <dgm:spPr/>
    </dgm:pt>
    <dgm:pt modelId="{C77EEA21-7833-4153-AE31-5AC451CF88B4}" type="sibTrans" cxnId="{145ABA86-23C2-47A6-B88A-1443578EFE3A}">
      <dgm:prSet/>
      <dgm:spPr/>
    </dgm:pt>
    <dgm:pt modelId="{1B1E35D1-40F0-424A-BF9B-E81B53494A27}">
      <dgm:prSet phldr="0"/>
      <dgm:spPr/>
      <dgm:t>
        <a:bodyPr/>
        <a:lstStyle/>
        <a:p>
          <a:endParaRPr lang="en-US" b="1" u="sng">
            <a:latin typeface="Arial"/>
            <a:cs typeface="Arial"/>
          </a:endParaRPr>
        </a:p>
      </dgm:t>
    </dgm:pt>
    <dgm:pt modelId="{E86FA6C9-AE23-43EA-8E8D-9F9823D329A4}" type="parTrans" cxnId="{0E693DC4-894C-4284-B6A9-FC5BB696B153}">
      <dgm:prSet/>
      <dgm:spPr/>
    </dgm:pt>
    <dgm:pt modelId="{88046618-0E0B-4F85-8407-BD3E2D7B1520}" type="sibTrans" cxnId="{0E693DC4-894C-4284-B6A9-FC5BB696B153}">
      <dgm:prSet/>
      <dgm:spPr/>
    </dgm:pt>
    <dgm:pt modelId="{564FE7BB-3F5D-4175-BE9C-9A009F69FB67}">
      <dgm:prSet phldr="0"/>
      <dgm:spPr/>
      <dgm:t>
        <a:bodyPr/>
        <a:lstStyle/>
        <a:p>
          <a:endParaRPr lang="en-US" b="1" dirty="0">
            <a:latin typeface="Arial"/>
            <a:cs typeface="Arial"/>
          </a:endParaRPr>
        </a:p>
      </dgm:t>
    </dgm:pt>
    <dgm:pt modelId="{DA2D1691-B0DE-42F7-A88E-CA241CCD70CF}" type="parTrans" cxnId="{E9D14AD8-7615-4B36-B4ED-35EBF6E29CC0}">
      <dgm:prSet/>
      <dgm:spPr/>
    </dgm:pt>
    <dgm:pt modelId="{A0603EE5-9061-41DE-AD8E-9E062EB7975F}" type="sibTrans" cxnId="{E9D14AD8-7615-4B36-B4ED-35EBF6E29CC0}">
      <dgm:prSet/>
      <dgm:spPr/>
    </dgm:pt>
    <dgm:pt modelId="{8076752E-5C0E-4590-AE2A-6CD46D26E490}">
      <dgm:prSet phldr="0"/>
      <dgm:spPr/>
      <dgm:t>
        <a:bodyPr/>
        <a:lstStyle/>
        <a:p>
          <a:pPr rtl="0"/>
          <a:r>
            <a:rPr lang="en-US" b="1" dirty="0">
              <a:solidFill>
                <a:schemeClr val="accent1"/>
              </a:solidFill>
              <a:latin typeface="Arial"/>
              <a:cs typeface="Arial"/>
            </a:rPr>
            <a:t>Share your teams past year QI story </a:t>
          </a:r>
        </a:p>
      </dgm:t>
    </dgm:pt>
    <dgm:pt modelId="{46966368-712C-4754-A2F7-2A4AF287C18A}" type="parTrans" cxnId="{1A7E9453-E29A-4102-932B-49B44410EE3F}">
      <dgm:prSet/>
      <dgm:spPr/>
    </dgm:pt>
    <dgm:pt modelId="{B8FEB45E-05FA-44FB-A71D-1312798C4A87}" type="sibTrans" cxnId="{1A7E9453-E29A-4102-932B-49B44410EE3F}">
      <dgm:prSet/>
      <dgm:spPr/>
    </dgm:pt>
    <dgm:pt modelId="{709DFC08-723E-4F27-8CED-E4BB59F4ED34}" type="pres">
      <dgm:prSet presAssocID="{1F7A72CD-D92F-4C60-BE1A-7BC2D023BB05}" presName="Name0" presStyleCnt="0">
        <dgm:presLayoutVars>
          <dgm:dir/>
          <dgm:animLvl val="lvl"/>
          <dgm:resizeHandles val="exact"/>
        </dgm:presLayoutVars>
      </dgm:prSet>
      <dgm:spPr/>
    </dgm:pt>
    <dgm:pt modelId="{E5766F4E-7CA4-429C-A33C-26DF49F6B700}" type="pres">
      <dgm:prSet presAssocID="{1F7A72CD-D92F-4C60-BE1A-7BC2D023BB05}" presName="tSp" presStyleCnt="0"/>
      <dgm:spPr/>
    </dgm:pt>
    <dgm:pt modelId="{3DAA75A7-C214-4504-A8B7-89D372992969}" type="pres">
      <dgm:prSet presAssocID="{1F7A72CD-D92F-4C60-BE1A-7BC2D023BB05}" presName="bSp" presStyleCnt="0"/>
      <dgm:spPr/>
    </dgm:pt>
    <dgm:pt modelId="{322A5182-A506-465F-920D-CD7CF4C2294F}" type="pres">
      <dgm:prSet presAssocID="{1F7A72CD-D92F-4C60-BE1A-7BC2D023BB05}" presName="process" presStyleCnt="0"/>
      <dgm:spPr/>
    </dgm:pt>
    <dgm:pt modelId="{F72D2409-8F2F-4849-8259-0C10A3E473A3}" type="pres">
      <dgm:prSet presAssocID="{019695E6-A658-4897-80F2-A08CC8E51471}" presName="composite1" presStyleCnt="0"/>
      <dgm:spPr/>
    </dgm:pt>
    <dgm:pt modelId="{F978296F-A8E9-4B6C-9E89-B00C76F27904}" type="pres">
      <dgm:prSet presAssocID="{019695E6-A658-4897-80F2-A08CC8E51471}" presName="dummyNode1" presStyleLbl="node1" presStyleIdx="0" presStyleCnt="3"/>
      <dgm:spPr/>
    </dgm:pt>
    <dgm:pt modelId="{84D1DD7D-4364-4FC0-BD7A-6D752EA0C43B}" type="pres">
      <dgm:prSet presAssocID="{019695E6-A658-4897-80F2-A08CC8E51471}" presName="childNode1" presStyleLbl="bgAcc1" presStyleIdx="0" presStyleCnt="3">
        <dgm:presLayoutVars>
          <dgm:bulletEnabled val="1"/>
        </dgm:presLayoutVars>
      </dgm:prSet>
      <dgm:spPr/>
    </dgm:pt>
    <dgm:pt modelId="{A60DA086-521F-49F7-B410-B76140292A44}" type="pres">
      <dgm:prSet presAssocID="{019695E6-A658-4897-80F2-A08CC8E51471}" presName="childNode1tx" presStyleLbl="bgAcc1" presStyleIdx="0" presStyleCnt="3">
        <dgm:presLayoutVars>
          <dgm:bulletEnabled val="1"/>
        </dgm:presLayoutVars>
      </dgm:prSet>
      <dgm:spPr/>
    </dgm:pt>
    <dgm:pt modelId="{EDF25B74-59DB-459F-AE5B-545FBC851F87}" type="pres">
      <dgm:prSet presAssocID="{019695E6-A658-4897-80F2-A08CC8E51471}" presName="parentNode1" presStyleLbl="node1" presStyleIdx="0" presStyleCnt="3">
        <dgm:presLayoutVars>
          <dgm:chMax val="1"/>
          <dgm:bulletEnabled val="1"/>
        </dgm:presLayoutVars>
      </dgm:prSet>
      <dgm:spPr/>
    </dgm:pt>
    <dgm:pt modelId="{B6CFFC37-C078-435F-8573-21EDD13F05A5}" type="pres">
      <dgm:prSet presAssocID="{019695E6-A658-4897-80F2-A08CC8E51471}" presName="connSite1" presStyleCnt="0"/>
      <dgm:spPr/>
    </dgm:pt>
    <dgm:pt modelId="{45570AD1-CF0C-47D8-981B-8E7712F67C98}" type="pres">
      <dgm:prSet presAssocID="{91B26892-AE2C-4A26-9563-AE9E9F1FA72C}" presName="Name9" presStyleLbl="sibTrans2D1" presStyleIdx="0" presStyleCnt="2"/>
      <dgm:spPr/>
    </dgm:pt>
    <dgm:pt modelId="{8465115B-D14A-459E-A2D7-FECE94332404}" type="pres">
      <dgm:prSet presAssocID="{5C1DD914-EF33-4EF3-B221-C3F33C853A5A}" presName="composite2" presStyleCnt="0"/>
      <dgm:spPr/>
    </dgm:pt>
    <dgm:pt modelId="{EA155C6B-9766-4E61-8630-BB808B2219D0}" type="pres">
      <dgm:prSet presAssocID="{5C1DD914-EF33-4EF3-B221-C3F33C853A5A}" presName="dummyNode2" presStyleLbl="node1" presStyleIdx="0" presStyleCnt="3"/>
      <dgm:spPr/>
    </dgm:pt>
    <dgm:pt modelId="{E4540ED4-266A-4F12-A6E6-014BC83EACEC}" type="pres">
      <dgm:prSet presAssocID="{5C1DD914-EF33-4EF3-B221-C3F33C853A5A}" presName="childNode2" presStyleLbl="bgAcc1" presStyleIdx="1" presStyleCnt="3">
        <dgm:presLayoutVars>
          <dgm:bulletEnabled val="1"/>
        </dgm:presLayoutVars>
      </dgm:prSet>
      <dgm:spPr/>
    </dgm:pt>
    <dgm:pt modelId="{4C86C687-4965-4DA2-80D1-EE1EC7C9996A}" type="pres">
      <dgm:prSet presAssocID="{5C1DD914-EF33-4EF3-B221-C3F33C853A5A}" presName="childNode2tx" presStyleLbl="bgAcc1" presStyleIdx="1" presStyleCnt="3">
        <dgm:presLayoutVars>
          <dgm:bulletEnabled val="1"/>
        </dgm:presLayoutVars>
      </dgm:prSet>
      <dgm:spPr/>
    </dgm:pt>
    <dgm:pt modelId="{CF5C580D-10AF-44A7-8FE5-3CB764BF1B81}" type="pres">
      <dgm:prSet presAssocID="{5C1DD914-EF33-4EF3-B221-C3F33C853A5A}" presName="parentNode2" presStyleLbl="node1" presStyleIdx="1" presStyleCnt="3">
        <dgm:presLayoutVars>
          <dgm:chMax val="0"/>
          <dgm:bulletEnabled val="1"/>
        </dgm:presLayoutVars>
      </dgm:prSet>
      <dgm:spPr/>
    </dgm:pt>
    <dgm:pt modelId="{BF8E9B54-530D-4B45-9AC2-00920F5E7602}" type="pres">
      <dgm:prSet presAssocID="{5C1DD914-EF33-4EF3-B221-C3F33C853A5A}" presName="connSite2" presStyleCnt="0"/>
      <dgm:spPr/>
    </dgm:pt>
    <dgm:pt modelId="{1D37E62D-9731-4C64-8EAB-56792DAF9616}" type="pres">
      <dgm:prSet presAssocID="{F621EE85-7E3C-4D1D-A5C4-83C833F67D2F}" presName="Name18" presStyleLbl="sibTrans2D1" presStyleIdx="1" presStyleCnt="2"/>
      <dgm:spPr/>
    </dgm:pt>
    <dgm:pt modelId="{EDB8BD8D-C06E-48A9-8FB9-4DFB77FD3F78}" type="pres">
      <dgm:prSet presAssocID="{38870418-F509-4025-AB43-C99E58E9D509}" presName="composite1" presStyleCnt="0"/>
      <dgm:spPr/>
    </dgm:pt>
    <dgm:pt modelId="{AF49B990-5CFC-4B6A-8C56-2B3D1124C87B}" type="pres">
      <dgm:prSet presAssocID="{38870418-F509-4025-AB43-C99E58E9D509}" presName="dummyNode1" presStyleLbl="node1" presStyleIdx="1" presStyleCnt="3"/>
      <dgm:spPr/>
    </dgm:pt>
    <dgm:pt modelId="{4EC3BF90-59CB-4CD5-8E65-F8EECE8EB3B7}" type="pres">
      <dgm:prSet presAssocID="{38870418-F509-4025-AB43-C99E58E9D509}" presName="childNode1" presStyleLbl="bgAcc1" presStyleIdx="2" presStyleCnt="3" custScaleX="109850" custLinFactNeighborX="-7301" custLinFactNeighborY="-321">
        <dgm:presLayoutVars>
          <dgm:bulletEnabled val="1"/>
        </dgm:presLayoutVars>
      </dgm:prSet>
      <dgm:spPr/>
    </dgm:pt>
    <dgm:pt modelId="{181AE6C3-DD1F-404A-B8D7-ACED8D5145E3}" type="pres">
      <dgm:prSet presAssocID="{38870418-F509-4025-AB43-C99E58E9D509}" presName="childNode1tx" presStyleLbl="bgAcc1" presStyleIdx="2" presStyleCnt="3">
        <dgm:presLayoutVars>
          <dgm:bulletEnabled val="1"/>
        </dgm:presLayoutVars>
      </dgm:prSet>
      <dgm:spPr/>
    </dgm:pt>
    <dgm:pt modelId="{2A29C3C5-932D-4B6F-8969-B5E5B16FD239}" type="pres">
      <dgm:prSet presAssocID="{38870418-F509-4025-AB43-C99E58E9D509}" presName="parentNode1" presStyleLbl="node1" presStyleIdx="2" presStyleCnt="3">
        <dgm:presLayoutVars>
          <dgm:chMax val="1"/>
          <dgm:bulletEnabled val="1"/>
        </dgm:presLayoutVars>
      </dgm:prSet>
      <dgm:spPr/>
    </dgm:pt>
    <dgm:pt modelId="{6CA20D3B-B274-4984-82DA-98EBC47D86D8}" type="pres">
      <dgm:prSet presAssocID="{38870418-F509-4025-AB43-C99E58E9D509}" presName="connSite1" presStyleCnt="0"/>
      <dgm:spPr/>
    </dgm:pt>
  </dgm:ptLst>
  <dgm:cxnLst>
    <dgm:cxn modelId="{FBE1830E-130E-405B-8C5C-4CD04063EC80}" type="presOf" srcId="{3456AB0F-96D4-4A97-8F82-64AE552EF6FB}" destId="{A60DA086-521F-49F7-B410-B76140292A44}" srcOrd="1" destOrd="2" presId="urn:microsoft.com/office/officeart/2005/8/layout/hProcess4"/>
    <dgm:cxn modelId="{1025DF0E-8AF9-40EF-8967-1EBC738C1B03}" type="presOf" srcId="{1FAFA9EB-E8A9-463D-AF35-5071306926A9}" destId="{84D1DD7D-4364-4FC0-BD7A-6D752EA0C43B}" srcOrd="0" destOrd="6" presId="urn:microsoft.com/office/officeart/2005/8/layout/hProcess4"/>
    <dgm:cxn modelId="{6B14EE19-04F4-4490-829F-618714C7D9E6}" type="presOf" srcId="{5C1DD914-EF33-4EF3-B221-C3F33C853A5A}" destId="{CF5C580D-10AF-44A7-8FE5-3CB764BF1B81}" srcOrd="0" destOrd="0" presId="urn:microsoft.com/office/officeart/2005/8/layout/hProcess4"/>
    <dgm:cxn modelId="{E317671D-EEA1-47D7-BD62-D90678FD2D26}" type="presOf" srcId="{6AF44131-5722-4528-8937-2F2D64962EE0}" destId="{A60DA086-521F-49F7-B410-B76140292A44}" srcOrd="1" destOrd="5" presId="urn:microsoft.com/office/officeart/2005/8/layout/hProcess4"/>
    <dgm:cxn modelId="{BFA61E20-99D1-42F0-BFE4-FD77A50271C3}" type="presOf" srcId="{B692733A-5AE6-4ECB-8111-57F9EDD9409F}" destId="{E4540ED4-266A-4F12-A6E6-014BC83EACEC}" srcOrd="0" destOrd="2" presId="urn:microsoft.com/office/officeart/2005/8/layout/hProcess4"/>
    <dgm:cxn modelId="{BA632924-67ED-4ECF-9A7B-9C1A161F2962}" srcId="{5C1DD914-EF33-4EF3-B221-C3F33C853A5A}" destId="{B6FEE040-5E22-4FBA-80BD-772A56465F90}" srcOrd="0" destOrd="0" parTransId="{8CE72970-5FE5-419C-8904-F03CDA749BCA}" sibTransId="{C7937236-40A7-4EEE-A278-4CA99EC3F59C}"/>
    <dgm:cxn modelId="{C8AE292B-D05B-4FF2-A2B7-F9DFE63A71AE}" type="presOf" srcId="{B692733A-5AE6-4ECB-8111-57F9EDD9409F}" destId="{4C86C687-4965-4DA2-80D1-EE1EC7C9996A}" srcOrd="1" destOrd="2" presId="urn:microsoft.com/office/officeart/2005/8/layout/hProcess4"/>
    <dgm:cxn modelId="{5B123430-B372-471C-9E52-79D9461B1ACB}" type="presOf" srcId="{99B110F8-6A29-4B06-8B52-0FF5AC6D254D}" destId="{4EC3BF90-59CB-4CD5-8E65-F8EECE8EB3B7}" srcOrd="0" destOrd="3" presId="urn:microsoft.com/office/officeart/2005/8/layout/hProcess4"/>
    <dgm:cxn modelId="{FF256B35-F04C-4733-952A-A852C43996C1}" type="presOf" srcId="{91B26892-AE2C-4A26-9563-AE9E9F1FA72C}" destId="{45570AD1-CF0C-47D8-981B-8E7712F67C98}" srcOrd="0" destOrd="0" presId="urn:microsoft.com/office/officeart/2005/8/layout/hProcess4"/>
    <dgm:cxn modelId="{AAC1DD3A-A3EE-4CA7-BACD-DE838CBFCCC1}" type="presOf" srcId="{1FAFA9EB-E8A9-463D-AF35-5071306926A9}" destId="{A60DA086-521F-49F7-B410-B76140292A44}" srcOrd="1" destOrd="6" presId="urn:microsoft.com/office/officeart/2005/8/layout/hProcess4"/>
    <dgm:cxn modelId="{8724403D-EAB0-4B31-936A-7C2A2EEE410A}" type="presOf" srcId="{38870418-F509-4025-AB43-C99E58E9D509}" destId="{2A29C3C5-932D-4B6F-8969-B5E5B16FD239}" srcOrd="0" destOrd="0" presId="urn:microsoft.com/office/officeart/2005/8/layout/hProcess4"/>
    <dgm:cxn modelId="{81425F3F-1CCF-4D6E-BB0F-C590667BBA3A}" srcId="{019695E6-A658-4897-80F2-A08CC8E51471}" destId="{5F275E72-DEDE-4BE9-A7B5-93C830029A15}" srcOrd="3" destOrd="0" parTransId="{D5CCC266-121D-4FB7-B8E0-516F0C01AFEC}" sibTransId="{E8DC0D8F-A6AC-4AF4-9AF2-322C446DCFBB}"/>
    <dgm:cxn modelId="{DA35413F-16A0-4FBA-B218-10D3E4F6732F}" srcId="{1F7A72CD-D92F-4C60-BE1A-7BC2D023BB05}" destId="{38870418-F509-4025-AB43-C99E58E9D509}" srcOrd="2" destOrd="0" parTransId="{9C76E2A0-B157-420D-8410-B5B6DDAAAFE6}" sibTransId="{8329EFE1-D519-46F7-9819-CE374241DFA4}"/>
    <dgm:cxn modelId="{B5F60248-4D2F-4539-916D-182CAAE0DAE1}" type="presOf" srcId="{5F275E72-DEDE-4BE9-A7B5-93C830029A15}" destId="{A60DA086-521F-49F7-B410-B76140292A44}" srcOrd="1" destOrd="3" presId="urn:microsoft.com/office/officeart/2005/8/layout/hProcess4"/>
    <dgm:cxn modelId="{D0C5C968-8BE5-48EA-8C09-706A92AB48B5}" srcId="{38870418-F509-4025-AB43-C99E58E9D509}" destId="{99B110F8-6A29-4B06-8B52-0FF5AC6D254D}" srcOrd="3" destOrd="0" parTransId="{412B8E3B-A82C-4A7B-9FC8-1B3F408D4184}" sibTransId="{A07D58BA-57FF-4630-9AC9-A0F60EC5736C}"/>
    <dgm:cxn modelId="{9C65F14F-67CC-43B9-A2E9-DA01456F543B}" srcId="{019695E6-A658-4897-80F2-A08CC8E51471}" destId="{6AF44131-5722-4528-8937-2F2D64962EE0}" srcOrd="5" destOrd="0" parTransId="{98702443-CD9D-4441-AC80-29164C564037}" sibTransId="{5849B39F-B1B2-4986-93B1-B2E021C29B5F}"/>
    <dgm:cxn modelId="{E1CE4352-9C0E-484E-8CC5-03985C6EF0D2}" type="presOf" srcId="{5F275E72-DEDE-4BE9-A7B5-93C830029A15}" destId="{84D1DD7D-4364-4FC0-BD7A-6D752EA0C43B}" srcOrd="0" destOrd="3" presId="urn:microsoft.com/office/officeart/2005/8/layout/hProcess4"/>
    <dgm:cxn modelId="{1A7E9453-E29A-4102-932B-49B44410EE3F}" srcId="{38870418-F509-4025-AB43-C99E58E9D509}" destId="{8076752E-5C0E-4590-AE2A-6CD46D26E490}" srcOrd="1" destOrd="0" parTransId="{46966368-712C-4754-A2F7-2A4AF287C18A}" sibTransId="{B8FEB45E-05FA-44FB-A71D-1312798C4A87}"/>
    <dgm:cxn modelId="{73B62374-B279-4EB3-B133-ABA26F3780E1}" srcId="{38870418-F509-4025-AB43-C99E58E9D509}" destId="{3DE293D2-6123-404E-A2C4-31713D59157B}" srcOrd="4" destOrd="0" parTransId="{70FB02EA-3F70-46C7-96FD-12AC172E9174}" sibTransId="{7BE67B6B-00C9-4D6D-8701-A8D78BA26FFA}"/>
    <dgm:cxn modelId="{2E9AEF78-8EE1-4DEB-AE94-42D1B27E4D69}" type="presOf" srcId="{564FE7BB-3F5D-4175-BE9C-9A009F69FB67}" destId="{181AE6C3-DD1F-404A-B8D7-ACED8D5145E3}" srcOrd="1" destOrd="2" presId="urn:microsoft.com/office/officeart/2005/8/layout/hProcess4"/>
    <dgm:cxn modelId="{145B4A82-B995-4537-B836-1289DA207F34}" type="presOf" srcId="{019695E6-A658-4897-80F2-A08CC8E51471}" destId="{EDF25B74-59DB-459F-AE5B-545FBC851F87}" srcOrd="0" destOrd="0" presId="urn:microsoft.com/office/officeart/2005/8/layout/hProcess4"/>
    <dgm:cxn modelId="{145ABA86-23C2-47A6-B88A-1443578EFE3A}" srcId="{019695E6-A658-4897-80F2-A08CC8E51471}" destId="{358B0361-FAD6-4712-9D01-4D9D4D4C5B71}" srcOrd="0" destOrd="0" parTransId="{27010C45-65D8-423F-A9E9-1020F07F9EA1}" sibTransId="{C77EEA21-7833-4153-AE31-5AC451CF88B4}"/>
    <dgm:cxn modelId="{CF65DE88-0D34-4891-BAB5-1A75A80B7C2A}" type="presOf" srcId="{05769790-14E8-4148-9EFC-2DA79A5686F2}" destId="{A60DA086-521F-49F7-B410-B76140292A44}" srcOrd="1" destOrd="4" presId="urn:microsoft.com/office/officeart/2005/8/layout/hProcess4"/>
    <dgm:cxn modelId="{08688789-0512-4B1B-A5AA-F722A4BD6B0D}" type="presOf" srcId="{D9C7E703-DE61-45CD-A076-3B7868D3DE65}" destId="{4EC3BF90-59CB-4CD5-8E65-F8EECE8EB3B7}" srcOrd="0" destOrd="0" presId="urn:microsoft.com/office/officeart/2005/8/layout/hProcess4"/>
    <dgm:cxn modelId="{3A93478E-D4ED-4F8C-A17D-B11B5601D3B4}" type="presOf" srcId="{1B1E35D1-40F0-424A-BF9B-E81B53494A27}" destId="{4C86C687-4965-4DA2-80D1-EE1EC7C9996A}" srcOrd="1" destOrd="1" presId="urn:microsoft.com/office/officeart/2005/8/layout/hProcess4"/>
    <dgm:cxn modelId="{ABAF1395-9A49-40D2-BD7B-2FE7CD74AA24}" srcId="{5C1DD914-EF33-4EF3-B221-C3F33C853A5A}" destId="{B692733A-5AE6-4ECB-8111-57F9EDD9409F}" srcOrd="2" destOrd="0" parTransId="{26F0D997-187B-4259-A25A-8043A7B50CC5}" sibTransId="{6C5D385B-F1D8-49C4-BE45-F31745C0EC23}"/>
    <dgm:cxn modelId="{2C2ABC9C-FDA1-4D17-A69A-C242F6CA252D}" type="presOf" srcId="{3DE293D2-6123-404E-A2C4-31713D59157B}" destId="{4EC3BF90-59CB-4CD5-8E65-F8EECE8EB3B7}" srcOrd="0" destOrd="4" presId="urn:microsoft.com/office/officeart/2005/8/layout/hProcess4"/>
    <dgm:cxn modelId="{FA425D9F-B81D-4DB1-AC29-A76966A6C87B}" type="presOf" srcId="{564FE7BB-3F5D-4175-BE9C-9A009F69FB67}" destId="{4EC3BF90-59CB-4CD5-8E65-F8EECE8EB3B7}" srcOrd="0" destOrd="2" presId="urn:microsoft.com/office/officeart/2005/8/layout/hProcess4"/>
    <dgm:cxn modelId="{41419AA3-01B9-406C-93F8-6742B76EFC2D}" type="presOf" srcId="{B6FEE040-5E22-4FBA-80BD-772A56465F90}" destId="{4C86C687-4965-4DA2-80D1-EE1EC7C9996A}" srcOrd="1" destOrd="0" presId="urn:microsoft.com/office/officeart/2005/8/layout/hProcess4"/>
    <dgm:cxn modelId="{D57DC5A3-62AB-4A91-BBF8-F2DF04AF875E}" srcId="{019695E6-A658-4897-80F2-A08CC8E51471}" destId="{3456AB0F-96D4-4A97-8F82-64AE552EF6FB}" srcOrd="2" destOrd="0" parTransId="{284D4E98-45C6-4808-A7A3-BF108FD2DDFB}" sibTransId="{9E69DAB2-AA26-49ED-A477-8A58EC04F4DD}"/>
    <dgm:cxn modelId="{1E53ABA5-41B2-4D1A-972F-5E6CB2DDDD8D}" type="presOf" srcId="{F621EE85-7E3C-4D1D-A5C4-83C833F67D2F}" destId="{1D37E62D-9731-4C64-8EAB-56792DAF9616}" srcOrd="0" destOrd="0" presId="urn:microsoft.com/office/officeart/2005/8/layout/hProcess4"/>
    <dgm:cxn modelId="{E4CF87A7-5229-44E6-8B7F-268AF8628575}" srcId="{38870418-F509-4025-AB43-C99E58E9D509}" destId="{D9C7E703-DE61-45CD-A076-3B7868D3DE65}" srcOrd="0" destOrd="0" parTransId="{6C4A08EF-FCAD-407D-8F21-9E4C9FF1A351}" sibTransId="{B4AA8A62-5BB9-4CA4-827A-ECB285FBE9D9}"/>
    <dgm:cxn modelId="{39813BA8-4D36-4C70-831C-9048A0CFFA76}" type="presOf" srcId="{6AF44131-5722-4528-8937-2F2D64962EE0}" destId="{84D1DD7D-4364-4FC0-BD7A-6D752EA0C43B}" srcOrd="0" destOrd="5" presId="urn:microsoft.com/office/officeart/2005/8/layout/hProcess4"/>
    <dgm:cxn modelId="{903A6FA8-8D32-4EB6-B842-42A7CB3CDF3C}" type="presOf" srcId="{358B0361-FAD6-4712-9D01-4D9D4D4C5B71}" destId="{A60DA086-521F-49F7-B410-B76140292A44}" srcOrd="1" destOrd="0" presId="urn:microsoft.com/office/officeart/2005/8/layout/hProcess4"/>
    <dgm:cxn modelId="{916F0AB3-B677-4475-AD2A-B3AAF0878350}" type="presOf" srcId="{99B110F8-6A29-4B06-8B52-0FF5AC6D254D}" destId="{181AE6C3-DD1F-404A-B8D7-ACED8D5145E3}" srcOrd="1" destOrd="3" presId="urn:microsoft.com/office/officeart/2005/8/layout/hProcess4"/>
    <dgm:cxn modelId="{68FC41B3-496C-43C6-B2B1-E9506AC09D6E}" type="presOf" srcId="{8076752E-5C0E-4590-AE2A-6CD46D26E490}" destId="{4EC3BF90-59CB-4CD5-8E65-F8EECE8EB3B7}" srcOrd="0" destOrd="1" presId="urn:microsoft.com/office/officeart/2005/8/layout/hProcess4"/>
    <dgm:cxn modelId="{C22D02B5-81B3-4DC6-A4F8-7903BD09E02E}" type="presOf" srcId="{8076752E-5C0E-4590-AE2A-6CD46D26E490}" destId="{181AE6C3-DD1F-404A-B8D7-ACED8D5145E3}" srcOrd="1" destOrd="1" presId="urn:microsoft.com/office/officeart/2005/8/layout/hProcess4"/>
    <dgm:cxn modelId="{23DF3AB5-85D8-423F-9DB8-F71B5D91EBE9}" type="presOf" srcId="{3DE293D2-6123-404E-A2C4-31713D59157B}" destId="{181AE6C3-DD1F-404A-B8D7-ACED8D5145E3}" srcOrd="1" destOrd="4" presId="urn:microsoft.com/office/officeart/2005/8/layout/hProcess4"/>
    <dgm:cxn modelId="{BC5E16B8-288E-4BAD-B564-62DA4E67A0F7}" type="presOf" srcId="{358B0361-FAD6-4712-9D01-4D9D4D4C5B71}" destId="{84D1DD7D-4364-4FC0-BD7A-6D752EA0C43B}" srcOrd="0" destOrd="0" presId="urn:microsoft.com/office/officeart/2005/8/layout/hProcess4"/>
    <dgm:cxn modelId="{F53691BC-C040-4E08-9B0F-F6897E7C10AD}" type="presOf" srcId="{1B1E35D1-40F0-424A-BF9B-E81B53494A27}" destId="{E4540ED4-266A-4F12-A6E6-014BC83EACEC}" srcOrd="0" destOrd="1" presId="urn:microsoft.com/office/officeart/2005/8/layout/hProcess4"/>
    <dgm:cxn modelId="{0E693DC4-894C-4284-B6A9-FC5BB696B153}" srcId="{5C1DD914-EF33-4EF3-B221-C3F33C853A5A}" destId="{1B1E35D1-40F0-424A-BF9B-E81B53494A27}" srcOrd="1" destOrd="0" parTransId="{E86FA6C9-AE23-43EA-8E8D-9F9823D329A4}" sibTransId="{88046618-0E0B-4F85-8407-BD3E2D7B1520}"/>
    <dgm:cxn modelId="{AD66E8C7-2AF9-4795-BF53-F9B54D9ACAD3}" srcId="{019695E6-A658-4897-80F2-A08CC8E51471}" destId="{05769790-14E8-4148-9EFC-2DA79A5686F2}" srcOrd="4" destOrd="0" parTransId="{E61EDA08-B100-421F-BC98-E5710E28E044}" sibTransId="{792B1C38-7CC7-43E8-85FE-86B5CFE34B39}"/>
    <dgm:cxn modelId="{6EFF93C8-0699-4536-9CB9-F6FBDC405BEA}" type="presOf" srcId="{3456AB0F-96D4-4A97-8F82-64AE552EF6FB}" destId="{84D1DD7D-4364-4FC0-BD7A-6D752EA0C43B}" srcOrd="0" destOrd="2" presId="urn:microsoft.com/office/officeart/2005/8/layout/hProcess4"/>
    <dgm:cxn modelId="{C0F52AD4-B4F8-41F8-B1E1-BF422735979D}" srcId="{1F7A72CD-D92F-4C60-BE1A-7BC2D023BB05}" destId="{5C1DD914-EF33-4EF3-B221-C3F33C853A5A}" srcOrd="1" destOrd="0" parTransId="{7B5EAACE-94C5-4928-9134-CA8DE1E36EAC}" sibTransId="{F621EE85-7E3C-4D1D-A5C4-83C833F67D2F}"/>
    <dgm:cxn modelId="{E9D14AD8-7615-4B36-B4ED-35EBF6E29CC0}" srcId="{38870418-F509-4025-AB43-C99E58E9D509}" destId="{564FE7BB-3F5D-4175-BE9C-9A009F69FB67}" srcOrd="2" destOrd="0" parTransId="{DA2D1691-B0DE-42F7-A88E-CA241CCD70CF}" sibTransId="{A0603EE5-9061-41DE-AD8E-9E062EB7975F}"/>
    <dgm:cxn modelId="{14F8C6DA-95E1-4521-9875-06DD633897CD}" srcId="{019695E6-A658-4897-80F2-A08CC8E51471}" destId="{1FAFA9EB-E8A9-463D-AF35-5071306926A9}" srcOrd="6" destOrd="0" parTransId="{68183127-8420-483B-A71A-713799AA4CF1}" sibTransId="{909CB53E-E523-4746-9CB4-96EE17052C61}"/>
    <dgm:cxn modelId="{3848B0DE-80FD-4196-BC9E-FC89C06E50C4}" type="presOf" srcId="{B6FEE040-5E22-4FBA-80BD-772A56465F90}" destId="{E4540ED4-266A-4F12-A6E6-014BC83EACEC}" srcOrd="0" destOrd="0" presId="urn:microsoft.com/office/officeart/2005/8/layout/hProcess4"/>
    <dgm:cxn modelId="{980A31E5-9F71-46F1-BB00-830F7871791E}" type="presOf" srcId="{B55E4287-18D6-44F9-9998-27DFC3DE3899}" destId="{A60DA086-521F-49F7-B410-B76140292A44}" srcOrd="1" destOrd="1" presId="urn:microsoft.com/office/officeart/2005/8/layout/hProcess4"/>
    <dgm:cxn modelId="{769B16E8-489C-4724-A9BD-746444FF4798}" type="presOf" srcId="{1F7A72CD-D92F-4C60-BE1A-7BC2D023BB05}" destId="{709DFC08-723E-4F27-8CED-E4BB59F4ED34}" srcOrd="0" destOrd="0" presId="urn:microsoft.com/office/officeart/2005/8/layout/hProcess4"/>
    <dgm:cxn modelId="{38B8EFEA-2AC2-4508-B50C-D7096BAE04EF}" srcId="{019695E6-A658-4897-80F2-A08CC8E51471}" destId="{B55E4287-18D6-44F9-9998-27DFC3DE3899}" srcOrd="1" destOrd="0" parTransId="{E2B3B95E-8796-44D3-BBC5-932F32BF5AC2}" sibTransId="{2F179F31-BBE7-48BC-8DC5-9CCC405069A8}"/>
    <dgm:cxn modelId="{A4AFEBEB-CADA-4C5F-8F8A-8794CC02B16A}" type="presOf" srcId="{D9C7E703-DE61-45CD-A076-3B7868D3DE65}" destId="{181AE6C3-DD1F-404A-B8D7-ACED8D5145E3}" srcOrd="1" destOrd="0" presId="urn:microsoft.com/office/officeart/2005/8/layout/hProcess4"/>
    <dgm:cxn modelId="{E6A3CBF4-6DCE-4383-8444-BEE5F48809C6}" srcId="{1F7A72CD-D92F-4C60-BE1A-7BC2D023BB05}" destId="{019695E6-A658-4897-80F2-A08CC8E51471}" srcOrd="0" destOrd="0" parTransId="{B686F262-5B44-47A7-8841-EAC8EC87E6C1}" sibTransId="{91B26892-AE2C-4A26-9563-AE9E9F1FA72C}"/>
    <dgm:cxn modelId="{81296BF5-0A39-4290-8DDC-9BF13F0BC307}" type="presOf" srcId="{05769790-14E8-4148-9EFC-2DA79A5686F2}" destId="{84D1DD7D-4364-4FC0-BD7A-6D752EA0C43B}" srcOrd="0" destOrd="4" presId="urn:microsoft.com/office/officeart/2005/8/layout/hProcess4"/>
    <dgm:cxn modelId="{DD5151F7-19A1-40CE-BDBA-DAC31ED1C088}" type="presOf" srcId="{B55E4287-18D6-44F9-9998-27DFC3DE3899}" destId="{84D1DD7D-4364-4FC0-BD7A-6D752EA0C43B}" srcOrd="0" destOrd="1" presId="urn:microsoft.com/office/officeart/2005/8/layout/hProcess4"/>
    <dgm:cxn modelId="{44996EEC-F8D4-4C25-88CC-A65C98CA3433}" type="presParOf" srcId="{709DFC08-723E-4F27-8CED-E4BB59F4ED34}" destId="{E5766F4E-7CA4-429C-A33C-26DF49F6B700}" srcOrd="0" destOrd="0" presId="urn:microsoft.com/office/officeart/2005/8/layout/hProcess4"/>
    <dgm:cxn modelId="{077B4AF3-8F27-4ACA-9E46-6C650F4ACE50}" type="presParOf" srcId="{709DFC08-723E-4F27-8CED-E4BB59F4ED34}" destId="{3DAA75A7-C214-4504-A8B7-89D372992969}" srcOrd="1" destOrd="0" presId="urn:microsoft.com/office/officeart/2005/8/layout/hProcess4"/>
    <dgm:cxn modelId="{1119EA7B-8738-4F40-B21A-B041ECCDC7C0}" type="presParOf" srcId="{709DFC08-723E-4F27-8CED-E4BB59F4ED34}" destId="{322A5182-A506-465F-920D-CD7CF4C2294F}" srcOrd="2" destOrd="0" presId="urn:microsoft.com/office/officeart/2005/8/layout/hProcess4"/>
    <dgm:cxn modelId="{C0AD3CB8-9DEB-46B6-8867-35150BCDB7E0}" type="presParOf" srcId="{322A5182-A506-465F-920D-CD7CF4C2294F}" destId="{F72D2409-8F2F-4849-8259-0C10A3E473A3}" srcOrd="0" destOrd="0" presId="urn:microsoft.com/office/officeart/2005/8/layout/hProcess4"/>
    <dgm:cxn modelId="{5971715F-E62C-43FC-8475-8B5FF7ACECC6}" type="presParOf" srcId="{F72D2409-8F2F-4849-8259-0C10A3E473A3}" destId="{F978296F-A8E9-4B6C-9E89-B00C76F27904}" srcOrd="0" destOrd="0" presId="urn:microsoft.com/office/officeart/2005/8/layout/hProcess4"/>
    <dgm:cxn modelId="{8F08B218-3FEC-412F-85D8-FE6B4BDD701F}" type="presParOf" srcId="{F72D2409-8F2F-4849-8259-0C10A3E473A3}" destId="{84D1DD7D-4364-4FC0-BD7A-6D752EA0C43B}" srcOrd="1" destOrd="0" presId="urn:microsoft.com/office/officeart/2005/8/layout/hProcess4"/>
    <dgm:cxn modelId="{F234F901-7A0A-4EC8-820E-596480C74D9F}" type="presParOf" srcId="{F72D2409-8F2F-4849-8259-0C10A3E473A3}" destId="{A60DA086-521F-49F7-B410-B76140292A44}" srcOrd="2" destOrd="0" presId="urn:microsoft.com/office/officeart/2005/8/layout/hProcess4"/>
    <dgm:cxn modelId="{7599BC24-66C0-4473-8304-0DA5061E9E58}" type="presParOf" srcId="{F72D2409-8F2F-4849-8259-0C10A3E473A3}" destId="{EDF25B74-59DB-459F-AE5B-545FBC851F87}" srcOrd="3" destOrd="0" presId="urn:microsoft.com/office/officeart/2005/8/layout/hProcess4"/>
    <dgm:cxn modelId="{C1001270-F4F5-4881-A836-D35D4A01269C}" type="presParOf" srcId="{F72D2409-8F2F-4849-8259-0C10A3E473A3}" destId="{B6CFFC37-C078-435F-8573-21EDD13F05A5}" srcOrd="4" destOrd="0" presId="urn:microsoft.com/office/officeart/2005/8/layout/hProcess4"/>
    <dgm:cxn modelId="{8DEE1865-FB4B-473D-BE35-6A4C5B0F79D9}" type="presParOf" srcId="{322A5182-A506-465F-920D-CD7CF4C2294F}" destId="{45570AD1-CF0C-47D8-981B-8E7712F67C98}" srcOrd="1" destOrd="0" presId="urn:microsoft.com/office/officeart/2005/8/layout/hProcess4"/>
    <dgm:cxn modelId="{7454FFBA-1D1C-4D38-A5AE-59695260C10E}" type="presParOf" srcId="{322A5182-A506-465F-920D-CD7CF4C2294F}" destId="{8465115B-D14A-459E-A2D7-FECE94332404}" srcOrd="2" destOrd="0" presId="urn:microsoft.com/office/officeart/2005/8/layout/hProcess4"/>
    <dgm:cxn modelId="{7EACCD08-2986-476D-A96F-6C2C3A485784}" type="presParOf" srcId="{8465115B-D14A-459E-A2D7-FECE94332404}" destId="{EA155C6B-9766-4E61-8630-BB808B2219D0}" srcOrd="0" destOrd="0" presId="urn:microsoft.com/office/officeart/2005/8/layout/hProcess4"/>
    <dgm:cxn modelId="{5593D74D-C5E5-4571-9BE9-E9EF7A562444}" type="presParOf" srcId="{8465115B-D14A-459E-A2D7-FECE94332404}" destId="{E4540ED4-266A-4F12-A6E6-014BC83EACEC}" srcOrd="1" destOrd="0" presId="urn:microsoft.com/office/officeart/2005/8/layout/hProcess4"/>
    <dgm:cxn modelId="{375AEBF6-ADAA-46BF-AF73-3AA1B37143A0}" type="presParOf" srcId="{8465115B-D14A-459E-A2D7-FECE94332404}" destId="{4C86C687-4965-4DA2-80D1-EE1EC7C9996A}" srcOrd="2" destOrd="0" presId="urn:microsoft.com/office/officeart/2005/8/layout/hProcess4"/>
    <dgm:cxn modelId="{9D88D87C-F2D1-477D-B230-E357E10DEE19}" type="presParOf" srcId="{8465115B-D14A-459E-A2D7-FECE94332404}" destId="{CF5C580D-10AF-44A7-8FE5-3CB764BF1B81}" srcOrd="3" destOrd="0" presId="urn:microsoft.com/office/officeart/2005/8/layout/hProcess4"/>
    <dgm:cxn modelId="{D791F258-72FE-400E-ACF6-EC782FD1044A}" type="presParOf" srcId="{8465115B-D14A-459E-A2D7-FECE94332404}" destId="{BF8E9B54-530D-4B45-9AC2-00920F5E7602}" srcOrd="4" destOrd="0" presId="urn:microsoft.com/office/officeart/2005/8/layout/hProcess4"/>
    <dgm:cxn modelId="{BC3CE478-85B6-4059-B0DA-76D8E472257B}" type="presParOf" srcId="{322A5182-A506-465F-920D-CD7CF4C2294F}" destId="{1D37E62D-9731-4C64-8EAB-56792DAF9616}" srcOrd="3" destOrd="0" presId="urn:microsoft.com/office/officeart/2005/8/layout/hProcess4"/>
    <dgm:cxn modelId="{0E92E0D5-2CC1-4160-B352-76B86A050129}" type="presParOf" srcId="{322A5182-A506-465F-920D-CD7CF4C2294F}" destId="{EDB8BD8D-C06E-48A9-8FB9-4DFB77FD3F78}" srcOrd="4" destOrd="0" presId="urn:microsoft.com/office/officeart/2005/8/layout/hProcess4"/>
    <dgm:cxn modelId="{B6C7F110-5222-4940-A5BF-6D7996C7285D}" type="presParOf" srcId="{EDB8BD8D-C06E-48A9-8FB9-4DFB77FD3F78}" destId="{AF49B990-5CFC-4B6A-8C56-2B3D1124C87B}" srcOrd="0" destOrd="0" presId="urn:microsoft.com/office/officeart/2005/8/layout/hProcess4"/>
    <dgm:cxn modelId="{B5FAFB18-8916-4BA8-9C47-4D06A9407CA4}" type="presParOf" srcId="{EDB8BD8D-C06E-48A9-8FB9-4DFB77FD3F78}" destId="{4EC3BF90-59CB-4CD5-8E65-F8EECE8EB3B7}" srcOrd="1" destOrd="0" presId="urn:microsoft.com/office/officeart/2005/8/layout/hProcess4"/>
    <dgm:cxn modelId="{BAFD6D5B-D4E3-4B68-8258-A3C988FE6A3C}" type="presParOf" srcId="{EDB8BD8D-C06E-48A9-8FB9-4DFB77FD3F78}" destId="{181AE6C3-DD1F-404A-B8D7-ACED8D5145E3}" srcOrd="2" destOrd="0" presId="urn:microsoft.com/office/officeart/2005/8/layout/hProcess4"/>
    <dgm:cxn modelId="{C61ECFCE-86D2-4DEB-8EB9-7009D1C15568}" type="presParOf" srcId="{EDB8BD8D-C06E-48A9-8FB9-4DFB77FD3F78}" destId="{2A29C3C5-932D-4B6F-8969-B5E5B16FD239}" srcOrd="3" destOrd="0" presId="urn:microsoft.com/office/officeart/2005/8/layout/hProcess4"/>
    <dgm:cxn modelId="{EBB8B1EE-1F5B-428A-BA13-96062A6F7E81}" type="presParOf" srcId="{EDB8BD8D-C06E-48A9-8FB9-4DFB77FD3F78}" destId="{6CA20D3B-B274-4984-82DA-98EBC47D86D8}" srcOrd="4" destOrd="0" presId="urn:microsoft.com/office/officeart/2005/8/layout/hProcess4"/>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2F85713-5B19-49FD-BB42-4744E5A655E4}" type="doc">
      <dgm:prSet loTypeId="urn:microsoft.com/office/officeart/2005/8/layout/hList3" loCatId="list" qsTypeId="urn:microsoft.com/office/officeart/2005/8/quickstyle/simple1" qsCatId="simple" csTypeId="urn:microsoft.com/office/officeart/2005/8/colors/colorful1" csCatId="colorful" phldr="1"/>
      <dgm:spPr/>
      <dgm:t>
        <a:bodyPr/>
        <a:lstStyle/>
        <a:p>
          <a:endParaRPr lang="en-US"/>
        </a:p>
      </dgm:t>
    </dgm:pt>
    <dgm:pt modelId="{D3E827F6-C4BE-4472-8C5B-ED40317D2FBC}">
      <dgm:prSet phldrT="[Text]" custT="1"/>
      <dgm:spPr>
        <a:solidFill>
          <a:srgbClr val="1C498B"/>
        </a:solidFill>
      </dgm:spPr>
      <dgm:t>
        <a:bodyPr/>
        <a:lstStyle/>
        <a:p>
          <a:pPr rtl="0">
            <a:spcAft>
              <a:spcPts val="600"/>
            </a:spcAft>
          </a:pPr>
          <a:r>
            <a:rPr lang="en-US" sz="4800"/>
            <a:t>PVB Finish Line Goals:</a:t>
          </a:r>
          <a:r>
            <a:rPr lang="en-US" sz="4800">
              <a:latin typeface="Calibri" panose="020F0502020204030204"/>
            </a:rPr>
            <a:t> </a:t>
          </a:r>
          <a:endParaRPr lang="en-US" sz="4800"/>
        </a:p>
        <a:p>
          <a:pPr>
            <a:spcAft>
              <a:spcPts val="600"/>
            </a:spcAft>
          </a:pPr>
          <a:r>
            <a:rPr lang="en-US" sz="3600"/>
            <a:t>QI Excellence Award</a:t>
          </a:r>
        </a:p>
      </dgm:t>
    </dgm:pt>
    <dgm:pt modelId="{38EBA0CD-F712-46B9-B185-042DA184D99B}" type="parTrans" cxnId="{7BF13868-92CF-4E47-A13F-98EE80D6B7D9}">
      <dgm:prSet/>
      <dgm:spPr/>
      <dgm:t>
        <a:bodyPr/>
        <a:lstStyle/>
        <a:p>
          <a:endParaRPr lang="en-US"/>
        </a:p>
      </dgm:t>
    </dgm:pt>
    <dgm:pt modelId="{4CA0C7C1-87F7-4D64-B03D-0464566A29C4}" type="sibTrans" cxnId="{7BF13868-92CF-4E47-A13F-98EE80D6B7D9}">
      <dgm:prSet/>
      <dgm:spPr/>
      <dgm:t>
        <a:bodyPr/>
        <a:lstStyle/>
        <a:p>
          <a:endParaRPr lang="en-US"/>
        </a:p>
      </dgm:t>
    </dgm:pt>
    <dgm:pt modelId="{0062D2D8-2EA7-4318-B2A8-4C4672C2529C}">
      <dgm:prSet phldrT="[Text]"/>
      <dgm:spPr/>
      <dgm:t>
        <a:bodyPr/>
        <a:lstStyle/>
        <a:p>
          <a:r>
            <a:rPr lang="en-US" b="1" u="sng"/>
            <a:t>6</a:t>
          </a:r>
          <a:r>
            <a:rPr lang="en-US"/>
            <a:t> Key Structure Measures in Place</a:t>
          </a:r>
        </a:p>
      </dgm:t>
    </dgm:pt>
    <dgm:pt modelId="{F0E2E2D6-1707-45F8-88A7-05944178C390}" type="parTrans" cxnId="{A7A882D3-712C-41BF-ACAC-1DD9B7DD8682}">
      <dgm:prSet/>
      <dgm:spPr/>
      <dgm:t>
        <a:bodyPr/>
        <a:lstStyle/>
        <a:p>
          <a:endParaRPr lang="en-US"/>
        </a:p>
      </dgm:t>
    </dgm:pt>
    <dgm:pt modelId="{EEA87371-9291-4768-981D-F5AD491295C7}" type="sibTrans" cxnId="{A7A882D3-712C-41BF-ACAC-1DD9B7DD8682}">
      <dgm:prSet/>
      <dgm:spPr/>
      <dgm:t>
        <a:bodyPr/>
        <a:lstStyle/>
        <a:p>
          <a:endParaRPr lang="en-US"/>
        </a:p>
      </dgm:t>
    </dgm:pt>
    <dgm:pt modelId="{68F427A4-CDA0-4D36-97D0-05EBDAE1D36F}">
      <dgm:prSet phldrT="[Text]"/>
      <dgm:spPr/>
      <dgm:t>
        <a:bodyPr/>
        <a:lstStyle/>
        <a:p>
          <a:pPr rtl="0"/>
          <a:r>
            <a:rPr lang="en-US"/>
            <a:t>NTSV C-Section Rate </a:t>
          </a:r>
          <a:r>
            <a:rPr lang="en-US" b="0" u="none"/>
            <a:t>≤</a:t>
          </a:r>
          <a:r>
            <a:rPr lang="en-US" b="1" u="sng"/>
            <a:t>23.6%</a:t>
          </a:r>
        </a:p>
      </dgm:t>
    </dgm:pt>
    <dgm:pt modelId="{F69659BD-856C-4791-B64B-E228A50E9CC3}" type="parTrans" cxnId="{22758760-EC2E-41A2-8C5D-F0B999A30125}">
      <dgm:prSet/>
      <dgm:spPr/>
      <dgm:t>
        <a:bodyPr/>
        <a:lstStyle/>
        <a:p>
          <a:endParaRPr lang="en-US"/>
        </a:p>
      </dgm:t>
    </dgm:pt>
    <dgm:pt modelId="{19B491E1-C02F-4FE4-9EB9-11DCBB23EE21}" type="sibTrans" cxnId="{22758760-EC2E-41A2-8C5D-F0B999A30125}">
      <dgm:prSet/>
      <dgm:spPr/>
      <dgm:t>
        <a:bodyPr/>
        <a:lstStyle/>
        <a:p>
          <a:endParaRPr lang="en-US"/>
        </a:p>
      </dgm:t>
    </dgm:pt>
    <dgm:pt modelId="{136BCD5D-FD57-4BE3-B3F9-23F3C98CD588}">
      <dgm:prSet phldrT="[Text]"/>
      <dgm:spPr/>
      <dgm:t>
        <a:bodyPr/>
        <a:lstStyle/>
        <a:p>
          <a:r>
            <a:rPr lang="en-US" b="1" u="sng"/>
            <a:t>80% </a:t>
          </a:r>
          <a:r>
            <a:rPr lang="en-US"/>
            <a:t>of Providers and Nurses educated on ACOG/SMFM Guidelines</a:t>
          </a:r>
          <a:endParaRPr lang="en-US" b="1" u="sng"/>
        </a:p>
      </dgm:t>
    </dgm:pt>
    <dgm:pt modelId="{3EFC0FA5-6C23-4664-977A-3A45B26187FA}" type="parTrans" cxnId="{243836A5-D2AA-4304-87E4-5BFC85298C53}">
      <dgm:prSet/>
      <dgm:spPr/>
      <dgm:t>
        <a:bodyPr/>
        <a:lstStyle/>
        <a:p>
          <a:endParaRPr lang="en-US"/>
        </a:p>
      </dgm:t>
    </dgm:pt>
    <dgm:pt modelId="{9A4C1403-E484-4C13-9D67-5BDF6C1D1FB8}" type="sibTrans" cxnId="{243836A5-D2AA-4304-87E4-5BFC85298C53}">
      <dgm:prSet/>
      <dgm:spPr/>
      <dgm:t>
        <a:bodyPr/>
        <a:lstStyle/>
        <a:p>
          <a:endParaRPr lang="en-US"/>
        </a:p>
      </dgm:t>
    </dgm:pt>
    <dgm:pt modelId="{78C79DF1-4455-4362-A02A-609B9A47C71E}">
      <dgm:prSet phldrT="[Text]"/>
      <dgm:spPr/>
      <dgm:t>
        <a:bodyPr/>
        <a:lstStyle/>
        <a:p>
          <a:pPr rtl="0"/>
          <a:r>
            <a:rPr lang="en-US" b="1" u="sng">
              <a:ea typeface="+mn-lt"/>
              <a:cs typeface="+mn-lt"/>
            </a:rPr>
            <a:t>80% </a:t>
          </a:r>
          <a:r>
            <a:rPr lang="en-US">
              <a:ea typeface="+mn-lt"/>
              <a:cs typeface="+mn-lt"/>
            </a:rPr>
            <a:t>of all NTSV C-Sections Meeting ACOG/SMFM Guidelines</a:t>
          </a:r>
          <a:r>
            <a:rPr lang="en-US">
              <a:latin typeface="Calibri" panose="020F0502020204030204"/>
              <a:ea typeface="+mn-lt"/>
              <a:cs typeface="+mn-lt"/>
            </a:rPr>
            <a:t> </a:t>
          </a:r>
          <a:endParaRPr lang="en-US" b="1" u="sng"/>
        </a:p>
      </dgm:t>
    </dgm:pt>
    <dgm:pt modelId="{8A523ED1-02B5-4E8E-AFED-B6C6FD7BF55D}" type="parTrans" cxnId="{8E621B33-DEC5-41A5-B888-D690878106EE}">
      <dgm:prSet/>
      <dgm:spPr/>
      <dgm:t>
        <a:bodyPr/>
        <a:lstStyle/>
        <a:p>
          <a:endParaRPr lang="en-US"/>
        </a:p>
      </dgm:t>
    </dgm:pt>
    <dgm:pt modelId="{CB5263F3-976E-4A1C-B48F-53519011D912}" type="sibTrans" cxnId="{8E621B33-DEC5-41A5-B888-D690878106EE}">
      <dgm:prSet/>
      <dgm:spPr/>
      <dgm:t>
        <a:bodyPr/>
        <a:lstStyle/>
        <a:p>
          <a:endParaRPr lang="en-US"/>
        </a:p>
      </dgm:t>
    </dgm:pt>
    <dgm:pt modelId="{CBF2718F-59A7-4A5B-81CC-1D63147AB168}" type="pres">
      <dgm:prSet presAssocID="{22F85713-5B19-49FD-BB42-4744E5A655E4}" presName="composite" presStyleCnt="0">
        <dgm:presLayoutVars>
          <dgm:chMax val="1"/>
          <dgm:dir/>
          <dgm:resizeHandles val="exact"/>
        </dgm:presLayoutVars>
      </dgm:prSet>
      <dgm:spPr/>
    </dgm:pt>
    <dgm:pt modelId="{1DF6E47F-41B6-4B49-9AB9-C4F53C51F631}" type="pres">
      <dgm:prSet presAssocID="{D3E827F6-C4BE-4472-8C5B-ED40317D2FBC}" presName="roof" presStyleLbl="dkBgShp" presStyleIdx="0" presStyleCnt="2"/>
      <dgm:spPr/>
    </dgm:pt>
    <dgm:pt modelId="{0113768C-FDEB-4E2E-B660-34D5D6549B44}" type="pres">
      <dgm:prSet presAssocID="{D3E827F6-C4BE-4472-8C5B-ED40317D2FBC}" presName="pillars" presStyleCnt="0"/>
      <dgm:spPr/>
    </dgm:pt>
    <dgm:pt modelId="{A5146FFA-5D72-4150-A4B0-92581BC433E9}" type="pres">
      <dgm:prSet presAssocID="{D3E827F6-C4BE-4472-8C5B-ED40317D2FBC}" presName="pillar1" presStyleLbl="node1" presStyleIdx="0" presStyleCnt="4">
        <dgm:presLayoutVars>
          <dgm:bulletEnabled val="1"/>
        </dgm:presLayoutVars>
      </dgm:prSet>
      <dgm:spPr/>
    </dgm:pt>
    <dgm:pt modelId="{30CB18CA-6184-4B31-8689-5ED885DAC293}" type="pres">
      <dgm:prSet presAssocID="{136BCD5D-FD57-4BE3-B3F9-23F3C98CD588}" presName="pillarX" presStyleLbl="node1" presStyleIdx="1" presStyleCnt="4">
        <dgm:presLayoutVars>
          <dgm:bulletEnabled val="1"/>
        </dgm:presLayoutVars>
      </dgm:prSet>
      <dgm:spPr/>
    </dgm:pt>
    <dgm:pt modelId="{A13BCFBA-5639-4275-9D30-DA41E66B4D95}" type="pres">
      <dgm:prSet presAssocID="{78C79DF1-4455-4362-A02A-609B9A47C71E}" presName="pillarX" presStyleLbl="node1" presStyleIdx="2" presStyleCnt="4">
        <dgm:presLayoutVars>
          <dgm:bulletEnabled val="1"/>
        </dgm:presLayoutVars>
      </dgm:prSet>
      <dgm:spPr/>
    </dgm:pt>
    <dgm:pt modelId="{33422456-B9A2-481F-A97B-DD1DEB2E620E}" type="pres">
      <dgm:prSet presAssocID="{68F427A4-CDA0-4D36-97D0-05EBDAE1D36F}" presName="pillarX" presStyleLbl="node1" presStyleIdx="3" presStyleCnt="4">
        <dgm:presLayoutVars>
          <dgm:bulletEnabled val="1"/>
        </dgm:presLayoutVars>
      </dgm:prSet>
      <dgm:spPr/>
    </dgm:pt>
    <dgm:pt modelId="{D0C257B7-398B-4816-9754-9EB0FA58D548}" type="pres">
      <dgm:prSet presAssocID="{D3E827F6-C4BE-4472-8C5B-ED40317D2FBC}" presName="base" presStyleLbl="dkBgShp" presStyleIdx="1" presStyleCnt="2"/>
      <dgm:spPr>
        <a:solidFill>
          <a:srgbClr val="1C498B"/>
        </a:solidFill>
      </dgm:spPr>
    </dgm:pt>
  </dgm:ptLst>
  <dgm:cxnLst>
    <dgm:cxn modelId="{EC686F08-B9E2-4E98-B75D-02874A517DF9}" type="presOf" srcId="{0062D2D8-2EA7-4318-B2A8-4C4672C2529C}" destId="{A5146FFA-5D72-4150-A4B0-92581BC433E9}" srcOrd="0" destOrd="0" presId="urn:microsoft.com/office/officeart/2005/8/layout/hList3"/>
    <dgm:cxn modelId="{7841181D-6CD8-4D9E-9AA4-60AF69599C36}" type="presOf" srcId="{78C79DF1-4455-4362-A02A-609B9A47C71E}" destId="{A13BCFBA-5639-4275-9D30-DA41E66B4D95}" srcOrd="0" destOrd="0" presId="urn:microsoft.com/office/officeart/2005/8/layout/hList3"/>
    <dgm:cxn modelId="{8E621B33-DEC5-41A5-B888-D690878106EE}" srcId="{D3E827F6-C4BE-4472-8C5B-ED40317D2FBC}" destId="{78C79DF1-4455-4362-A02A-609B9A47C71E}" srcOrd="2" destOrd="0" parTransId="{8A523ED1-02B5-4E8E-AFED-B6C6FD7BF55D}" sibTransId="{CB5263F3-976E-4A1C-B48F-53519011D912}"/>
    <dgm:cxn modelId="{24381334-BE33-4FDB-9F10-7B1F82BBD4D6}" type="presOf" srcId="{D3E827F6-C4BE-4472-8C5B-ED40317D2FBC}" destId="{1DF6E47F-41B6-4B49-9AB9-C4F53C51F631}" srcOrd="0" destOrd="0" presId="urn:microsoft.com/office/officeart/2005/8/layout/hList3"/>
    <dgm:cxn modelId="{22758760-EC2E-41A2-8C5D-F0B999A30125}" srcId="{D3E827F6-C4BE-4472-8C5B-ED40317D2FBC}" destId="{68F427A4-CDA0-4D36-97D0-05EBDAE1D36F}" srcOrd="3" destOrd="0" parTransId="{F69659BD-856C-4791-B64B-E228A50E9CC3}" sibTransId="{19B491E1-C02F-4FE4-9EB9-11DCBB23EE21}"/>
    <dgm:cxn modelId="{7BF13868-92CF-4E47-A13F-98EE80D6B7D9}" srcId="{22F85713-5B19-49FD-BB42-4744E5A655E4}" destId="{D3E827F6-C4BE-4472-8C5B-ED40317D2FBC}" srcOrd="0" destOrd="0" parTransId="{38EBA0CD-F712-46B9-B185-042DA184D99B}" sibTransId="{4CA0C7C1-87F7-4D64-B03D-0464566A29C4}"/>
    <dgm:cxn modelId="{B6E8239D-9EDD-464C-AC62-83CD90D02AEE}" type="presOf" srcId="{68F427A4-CDA0-4D36-97D0-05EBDAE1D36F}" destId="{33422456-B9A2-481F-A97B-DD1DEB2E620E}" srcOrd="0" destOrd="0" presId="urn:microsoft.com/office/officeart/2005/8/layout/hList3"/>
    <dgm:cxn modelId="{243836A5-D2AA-4304-87E4-5BFC85298C53}" srcId="{D3E827F6-C4BE-4472-8C5B-ED40317D2FBC}" destId="{136BCD5D-FD57-4BE3-B3F9-23F3C98CD588}" srcOrd="1" destOrd="0" parTransId="{3EFC0FA5-6C23-4664-977A-3A45B26187FA}" sibTransId="{9A4C1403-E484-4C13-9D67-5BDF6C1D1FB8}"/>
    <dgm:cxn modelId="{A7A882D3-712C-41BF-ACAC-1DD9B7DD8682}" srcId="{D3E827F6-C4BE-4472-8C5B-ED40317D2FBC}" destId="{0062D2D8-2EA7-4318-B2A8-4C4672C2529C}" srcOrd="0" destOrd="0" parTransId="{F0E2E2D6-1707-45F8-88A7-05944178C390}" sibTransId="{EEA87371-9291-4768-981D-F5AD491295C7}"/>
    <dgm:cxn modelId="{75BD47DE-6A72-4CC1-AFC5-50B6E01B5D40}" type="presOf" srcId="{136BCD5D-FD57-4BE3-B3F9-23F3C98CD588}" destId="{30CB18CA-6184-4B31-8689-5ED885DAC293}" srcOrd="0" destOrd="0" presId="urn:microsoft.com/office/officeart/2005/8/layout/hList3"/>
    <dgm:cxn modelId="{237096E5-770D-4AC7-9FD1-A924FD36E444}" type="presOf" srcId="{22F85713-5B19-49FD-BB42-4744E5A655E4}" destId="{CBF2718F-59A7-4A5B-81CC-1D63147AB168}" srcOrd="0" destOrd="0" presId="urn:microsoft.com/office/officeart/2005/8/layout/hList3"/>
    <dgm:cxn modelId="{FDCBCF5B-442A-4001-BFE0-76B99308F472}" type="presParOf" srcId="{CBF2718F-59A7-4A5B-81CC-1D63147AB168}" destId="{1DF6E47F-41B6-4B49-9AB9-C4F53C51F631}" srcOrd="0" destOrd="0" presId="urn:microsoft.com/office/officeart/2005/8/layout/hList3"/>
    <dgm:cxn modelId="{0D785A58-2382-472D-977D-04CFD6B7327E}" type="presParOf" srcId="{CBF2718F-59A7-4A5B-81CC-1D63147AB168}" destId="{0113768C-FDEB-4E2E-B660-34D5D6549B44}" srcOrd="1" destOrd="0" presId="urn:microsoft.com/office/officeart/2005/8/layout/hList3"/>
    <dgm:cxn modelId="{6E27FCB2-A9D0-4B66-B453-E24AD299707D}" type="presParOf" srcId="{0113768C-FDEB-4E2E-B660-34D5D6549B44}" destId="{A5146FFA-5D72-4150-A4B0-92581BC433E9}" srcOrd="0" destOrd="0" presId="urn:microsoft.com/office/officeart/2005/8/layout/hList3"/>
    <dgm:cxn modelId="{C244380D-9E84-479C-B9D7-607E79CC33E2}" type="presParOf" srcId="{0113768C-FDEB-4E2E-B660-34D5D6549B44}" destId="{30CB18CA-6184-4B31-8689-5ED885DAC293}" srcOrd="1" destOrd="0" presId="urn:microsoft.com/office/officeart/2005/8/layout/hList3"/>
    <dgm:cxn modelId="{40EC5CB9-20AC-4BCF-AC49-A4736FD52520}" type="presParOf" srcId="{0113768C-FDEB-4E2E-B660-34D5D6549B44}" destId="{A13BCFBA-5639-4275-9D30-DA41E66B4D95}" srcOrd="2" destOrd="0" presId="urn:microsoft.com/office/officeart/2005/8/layout/hList3"/>
    <dgm:cxn modelId="{140186BD-8E84-47F0-8211-EF6DC1E28E85}" type="presParOf" srcId="{0113768C-FDEB-4E2E-B660-34D5D6549B44}" destId="{33422456-B9A2-481F-A97B-DD1DEB2E620E}" srcOrd="3" destOrd="0" presId="urn:microsoft.com/office/officeart/2005/8/layout/hList3"/>
    <dgm:cxn modelId="{9916367B-C03F-4DC0-90C7-9EA1832D90E3}" type="presParOf" srcId="{CBF2718F-59A7-4A5B-81CC-1D63147AB168}" destId="{D0C257B7-398B-4816-9754-9EB0FA58D548}" srcOrd="2" destOrd="0" presId="urn:microsoft.com/office/officeart/2005/8/layout/hList3"/>
  </dgm:cxnLst>
  <dgm:bg>
    <a:solidFill>
      <a:srgbClr val="1C498B"/>
    </a:solid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4E03B6A9-F94C-4A77-A29A-B77184017A6D}" type="doc">
      <dgm:prSet loTypeId="urn:microsoft.com/office/officeart/2005/8/layout/list1" loCatId="list" qsTypeId="urn:microsoft.com/office/officeart/2005/8/quickstyle/simple1" qsCatId="simple" csTypeId="urn:microsoft.com/office/officeart/2005/8/colors/colorful1" csCatId="colorful" phldr="1"/>
      <dgm:spPr/>
      <dgm:t>
        <a:bodyPr/>
        <a:lstStyle/>
        <a:p>
          <a:endParaRPr lang="en-US"/>
        </a:p>
      </dgm:t>
    </dgm:pt>
    <dgm:pt modelId="{05574A01-6493-4406-B3AE-891B598E5220}">
      <dgm:prSet phldrT="[Text]"/>
      <dgm:spPr/>
      <dgm:t>
        <a:bodyPr/>
        <a:lstStyle/>
        <a:p>
          <a:r>
            <a:rPr lang="en-US" dirty="0"/>
            <a:t>Your NTSV C-Section Rate (if you are comfortable sharing)</a:t>
          </a:r>
        </a:p>
      </dgm:t>
    </dgm:pt>
    <dgm:pt modelId="{07DA5E0A-DAD4-4AC4-A796-331DA2FAA082}" type="parTrans" cxnId="{FD57F9BE-EACA-4B3B-9F74-113AB3A2CA21}">
      <dgm:prSet/>
      <dgm:spPr/>
      <dgm:t>
        <a:bodyPr/>
        <a:lstStyle/>
        <a:p>
          <a:endParaRPr lang="en-US"/>
        </a:p>
      </dgm:t>
    </dgm:pt>
    <dgm:pt modelId="{16717B1C-AE72-45AC-A6D1-288151C18505}" type="sibTrans" cxnId="{FD57F9BE-EACA-4B3B-9F74-113AB3A2CA21}">
      <dgm:prSet/>
      <dgm:spPr/>
      <dgm:t>
        <a:bodyPr/>
        <a:lstStyle/>
        <a:p>
          <a:endParaRPr lang="en-US"/>
        </a:p>
      </dgm:t>
    </dgm:pt>
    <dgm:pt modelId="{071759E6-7BC2-48F1-8625-474826DB9971}">
      <dgm:prSet/>
      <dgm:spPr/>
      <dgm:t>
        <a:bodyPr/>
        <a:lstStyle/>
        <a:p>
          <a:r>
            <a:rPr lang="en-US"/>
            <a:t>Strategies your PVB has successfully implemented </a:t>
          </a:r>
          <a:endParaRPr lang="en-US" dirty="0"/>
        </a:p>
      </dgm:t>
    </dgm:pt>
    <dgm:pt modelId="{33574CE8-80C2-4741-8B2D-753EF71CF70E}" type="parTrans" cxnId="{FD124228-1D6B-44C1-9553-3517E8ACFCEE}">
      <dgm:prSet/>
      <dgm:spPr/>
      <dgm:t>
        <a:bodyPr/>
        <a:lstStyle/>
        <a:p>
          <a:endParaRPr lang="en-US"/>
        </a:p>
      </dgm:t>
    </dgm:pt>
    <dgm:pt modelId="{05EA4106-CF3A-4C62-A745-1C685B02CEC5}" type="sibTrans" cxnId="{FD124228-1D6B-44C1-9553-3517E8ACFCEE}">
      <dgm:prSet/>
      <dgm:spPr/>
      <dgm:t>
        <a:bodyPr/>
        <a:lstStyle/>
        <a:p>
          <a:endParaRPr lang="en-US"/>
        </a:p>
      </dgm:t>
    </dgm:pt>
    <dgm:pt modelId="{6FFAC7F2-0487-4FAE-80A1-ACA52BBB883B}">
      <dgm:prSet/>
      <dgm:spPr>
        <a:solidFill>
          <a:schemeClr val="accent5"/>
        </a:solidFill>
      </dgm:spPr>
      <dgm:t>
        <a:bodyPr/>
        <a:lstStyle/>
        <a:p>
          <a:r>
            <a:rPr lang="en-US"/>
            <a:t>Challenges you are facing with PVB implementation</a:t>
          </a:r>
          <a:endParaRPr lang="en-US" dirty="0"/>
        </a:p>
      </dgm:t>
    </dgm:pt>
    <dgm:pt modelId="{F607033A-A605-4FA3-9321-39F0D6777B80}" type="parTrans" cxnId="{4C2F4B5F-9CD3-4E29-8A0D-509AA0CA1423}">
      <dgm:prSet/>
      <dgm:spPr/>
      <dgm:t>
        <a:bodyPr/>
        <a:lstStyle/>
        <a:p>
          <a:endParaRPr lang="en-US"/>
        </a:p>
      </dgm:t>
    </dgm:pt>
    <dgm:pt modelId="{E568A047-BA75-4E04-8C60-9D4A33A8B9B0}" type="sibTrans" cxnId="{4C2F4B5F-9CD3-4E29-8A0D-509AA0CA1423}">
      <dgm:prSet/>
      <dgm:spPr/>
      <dgm:t>
        <a:bodyPr/>
        <a:lstStyle/>
        <a:p>
          <a:endParaRPr lang="en-US"/>
        </a:p>
      </dgm:t>
    </dgm:pt>
    <dgm:pt modelId="{E766428B-10A6-4870-9CD8-6417A6353A8E}" type="pres">
      <dgm:prSet presAssocID="{4E03B6A9-F94C-4A77-A29A-B77184017A6D}" presName="linear" presStyleCnt="0">
        <dgm:presLayoutVars>
          <dgm:dir/>
          <dgm:animLvl val="lvl"/>
          <dgm:resizeHandles val="exact"/>
        </dgm:presLayoutVars>
      </dgm:prSet>
      <dgm:spPr/>
    </dgm:pt>
    <dgm:pt modelId="{49CD6499-1BEA-45A1-92B2-318C477D7AFC}" type="pres">
      <dgm:prSet presAssocID="{05574A01-6493-4406-B3AE-891B598E5220}" presName="parentLin" presStyleCnt="0"/>
      <dgm:spPr/>
    </dgm:pt>
    <dgm:pt modelId="{5016B779-6FDB-43E4-B134-3B76DCBA38B1}" type="pres">
      <dgm:prSet presAssocID="{05574A01-6493-4406-B3AE-891B598E5220}" presName="parentLeftMargin" presStyleLbl="node1" presStyleIdx="0" presStyleCnt="3"/>
      <dgm:spPr/>
    </dgm:pt>
    <dgm:pt modelId="{F89C63A6-3CF0-4E4E-9C4F-AE1D7DB5B53F}" type="pres">
      <dgm:prSet presAssocID="{05574A01-6493-4406-B3AE-891B598E5220}" presName="parentText" presStyleLbl="node1" presStyleIdx="0" presStyleCnt="3" custLinFactX="7393" custLinFactNeighborX="100000">
        <dgm:presLayoutVars>
          <dgm:chMax val="0"/>
          <dgm:bulletEnabled val="1"/>
        </dgm:presLayoutVars>
      </dgm:prSet>
      <dgm:spPr/>
    </dgm:pt>
    <dgm:pt modelId="{7F36C3F8-DA5D-4A2F-8FA3-70C4047FCA7E}" type="pres">
      <dgm:prSet presAssocID="{05574A01-6493-4406-B3AE-891B598E5220}" presName="negativeSpace" presStyleCnt="0"/>
      <dgm:spPr/>
    </dgm:pt>
    <dgm:pt modelId="{D41E95C7-77DE-4516-A658-40B8C757062F}" type="pres">
      <dgm:prSet presAssocID="{05574A01-6493-4406-B3AE-891B598E5220}" presName="childText" presStyleLbl="conFgAcc1" presStyleIdx="0" presStyleCnt="3">
        <dgm:presLayoutVars>
          <dgm:bulletEnabled val="1"/>
        </dgm:presLayoutVars>
      </dgm:prSet>
      <dgm:spPr/>
    </dgm:pt>
    <dgm:pt modelId="{61FEDFC5-FC47-4B79-B5F5-05BFFE8FB1C2}" type="pres">
      <dgm:prSet presAssocID="{16717B1C-AE72-45AC-A6D1-288151C18505}" presName="spaceBetweenRectangles" presStyleCnt="0"/>
      <dgm:spPr/>
    </dgm:pt>
    <dgm:pt modelId="{6654E6B0-5B89-41C7-BBA3-BDFBDC8CBFB6}" type="pres">
      <dgm:prSet presAssocID="{071759E6-7BC2-48F1-8625-474826DB9971}" presName="parentLin" presStyleCnt="0"/>
      <dgm:spPr/>
    </dgm:pt>
    <dgm:pt modelId="{7DA0EA13-CB1C-494A-BF6D-4958771816B8}" type="pres">
      <dgm:prSet presAssocID="{071759E6-7BC2-48F1-8625-474826DB9971}" presName="parentLeftMargin" presStyleLbl="node1" presStyleIdx="0" presStyleCnt="3"/>
      <dgm:spPr/>
    </dgm:pt>
    <dgm:pt modelId="{4AD31C28-CE51-4055-8ECA-E4B2BA0AB638}" type="pres">
      <dgm:prSet presAssocID="{071759E6-7BC2-48F1-8625-474826DB9971}" presName="parentText" presStyleLbl="node1" presStyleIdx="1" presStyleCnt="3" custLinFactX="7382" custLinFactNeighborX="100000" custLinFactNeighborY="-5387">
        <dgm:presLayoutVars>
          <dgm:chMax val="0"/>
          <dgm:bulletEnabled val="1"/>
        </dgm:presLayoutVars>
      </dgm:prSet>
      <dgm:spPr/>
    </dgm:pt>
    <dgm:pt modelId="{EDAA737C-583F-44A5-B37C-5BF2A359DB24}" type="pres">
      <dgm:prSet presAssocID="{071759E6-7BC2-48F1-8625-474826DB9971}" presName="negativeSpace" presStyleCnt="0"/>
      <dgm:spPr/>
    </dgm:pt>
    <dgm:pt modelId="{455B3486-8B68-4DFD-9BA3-31EB6F08188D}" type="pres">
      <dgm:prSet presAssocID="{071759E6-7BC2-48F1-8625-474826DB9971}" presName="childText" presStyleLbl="conFgAcc1" presStyleIdx="1" presStyleCnt="3">
        <dgm:presLayoutVars>
          <dgm:bulletEnabled val="1"/>
        </dgm:presLayoutVars>
      </dgm:prSet>
      <dgm:spPr/>
    </dgm:pt>
    <dgm:pt modelId="{E8E64634-3658-4215-9927-1EAAA7658445}" type="pres">
      <dgm:prSet presAssocID="{05EA4106-CF3A-4C62-A745-1C685B02CEC5}" presName="spaceBetweenRectangles" presStyleCnt="0"/>
      <dgm:spPr/>
    </dgm:pt>
    <dgm:pt modelId="{2E34F21E-F629-475F-8843-4EC8AAF36FF3}" type="pres">
      <dgm:prSet presAssocID="{6FFAC7F2-0487-4FAE-80A1-ACA52BBB883B}" presName="parentLin" presStyleCnt="0"/>
      <dgm:spPr/>
    </dgm:pt>
    <dgm:pt modelId="{AAA5B98D-E6E2-4C6F-9102-C4425839D1BD}" type="pres">
      <dgm:prSet presAssocID="{6FFAC7F2-0487-4FAE-80A1-ACA52BBB883B}" presName="parentLeftMargin" presStyleLbl="node1" presStyleIdx="1" presStyleCnt="3"/>
      <dgm:spPr/>
    </dgm:pt>
    <dgm:pt modelId="{8BA042A6-D8C9-4C6F-9AFE-C39F1CA6B129}" type="pres">
      <dgm:prSet presAssocID="{6FFAC7F2-0487-4FAE-80A1-ACA52BBB883B}" presName="parentText" presStyleLbl="node1" presStyleIdx="2" presStyleCnt="3" custLinFactX="7503" custLinFactNeighborX="100000" custLinFactNeighborY="-2694">
        <dgm:presLayoutVars>
          <dgm:chMax val="0"/>
          <dgm:bulletEnabled val="1"/>
        </dgm:presLayoutVars>
      </dgm:prSet>
      <dgm:spPr/>
    </dgm:pt>
    <dgm:pt modelId="{467E66EA-9A47-47D5-9D44-7601BA79744B}" type="pres">
      <dgm:prSet presAssocID="{6FFAC7F2-0487-4FAE-80A1-ACA52BBB883B}" presName="negativeSpace" presStyleCnt="0"/>
      <dgm:spPr/>
    </dgm:pt>
    <dgm:pt modelId="{4BDE4D6A-41DD-45FB-9FC5-662DADC55392}" type="pres">
      <dgm:prSet presAssocID="{6FFAC7F2-0487-4FAE-80A1-ACA52BBB883B}" presName="childText" presStyleLbl="conFgAcc1" presStyleIdx="2" presStyleCnt="3">
        <dgm:presLayoutVars>
          <dgm:bulletEnabled val="1"/>
        </dgm:presLayoutVars>
      </dgm:prSet>
      <dgm:spPr>
        <a:noFill/>
        <a:ln>
          <a:solidFill>
            <a:schemeClr val="accent5"/>
          </a:solidFill>
        </a:ln>
      </dgm:spPr>
    </dgm:pt>
  </dgm:ptLst>
  <dgm:cxnLst>
    <dgm:cxn modelId="{F8680D25-85A5-430C-A2D1-A6DFB7517DD4}" type="presOf" srcId="{071759E6-7BC2-48F1-8625-474826DB9971}" destId="{7DA0EA13-CB1C-494A-BF6D-4958771816B8}" srcOrd="0" destOrd="0" presId="urn:microsoft.com/office/officeart/2005/8/layout/list1"/>
    <dgm:cxn modelId="{FD124228-1D6B-44C1-9553-3517E8ACFCEE}" srcId="{4E03B6A9-F94C-4A77-A29A-B77184017A6D}" destId="{071759E6-7BC2-48F1-8625-474826DB9971}" srcOrd="1" destOrd="0" parTransId="{33574CE8-80C2-4741-8B2D-753EF71CF70E}" sibTransId="{05EA4106-CF3A-4C62-A745-1C685B02CEC5}"/>
    <dgm:cxn modelId="{4C2F4B5F-9CD3-4E29-8A0D-509AA0CA1423}" srcId="{4E03B6A9-F94C-4A77-A29A-B77184017A6D}" destId="{6FFAC7F2-0487-4FAE-80A1-ACA52BBB883B}" srcOrd="2" destOrd="0" parTransId="{F607033A-A605-4FA3-9321-39F0D6777B80}" sibTransId="{E568A047-BA75-4E04-8C60-9D4A33A8B9B0}"/>
    <dgm:cxn modelId="{ACF9CC73-B406-43F2-9DBD-7FDE1E510541}" type="presOf" srcId="{6FFAC7F2-0487-4FAE-80A1-ACA52BBB883B}" destId="{8BA042A6-D8C9-4C6F-9AFE-C39F1CA6B129}" srcOrd="1" destOrd="0" presId="urn:microsoft.com/office/officeart/2005/8/layout/list1"/>
    <dgm:cxn modelId="{AEB40576-B944-4F9B-9D69-520B57728C07}" type="presOf" srcId="{05574A01-6493-4406-B3AE-891B598E5220}" destId="{F89C63A6-3CF0-4E4E-9C4F-AE1D7DB5B53F}" srcOrd="1" destOrd="0" presId="urn:microsoft.com/office/officeart/2005/8/layout/list1"/>
    <dgm:cxn modelId="{6869C356-219E-4BE5-A99A-ABFEE97A6974}" type="presOf" srcId="{6FFAC7F2-0487-4FAE-80A1-ACA52BBB883B}" destId="{AAA5B98D-E6E2-4C6F-9102-C4425839D1BD}" srcOrd="0" destOrd="0" presId="urn:microsoft.com/office/officeart/2005/8/layout/list1"/>
    <dgm:cxn modelId="{8D0D0D95-F13C-419F-9C5D-78A696F58D92}" type="presOf" srcId="{05574A01-6493-4406-B3AE-891B598E5220}" destId="{5016B779-6FDB-43E4-B134-3B76DCBA38B1}" srcOrd="0" destOrd="0" presId="urn:microsoft.com/office/officeart/2005/8/layout/list1"/>
    <dgm:cxn modelId="{50FCD9B5-3BCE-40C4-8C88-1FF909B9B85E}" type="presOf" srcId="{4E03B6A9-F94C-4A77-A29A-B77184017A6D}" destId="{E766428B-10A6-4870-9CD8-6417A6353A8E}" srcOrd="0" destOrd="0" presId="urn:microsoft.com/office/officeart/2005/8/layout/list1"/>
    <dgm:cxn modelId="{FD57F9BE-EACA-4B3B-9F74-113AB3A2CA21}" srcId="{4E03B6A9-F94C-4A77-A29A-B77184017A6D}" destId="{05574A01-6493-4406-B3AE-891B598E5220}" srcOrd="0" destOrd="0" parTransId="{07DA5E0A-DAD4-4AC4-A796-331DA2FAA082}" sibTransId="{16717B1C-AE72-45AC-A6D1-288151C18505}"/>
    <dgm:cxn modelId="{88A696D6-C958-4932-BCBD-3A8DE69A1DC5}" type="presOf" srcId="{071759E6-7BC2-48F1-8625-474826DB9971}" destId="{4AD31C28-CE51-4055-8ECA-E4B2BA0AB638}" srcOrd="1" destOrd="0" presId="urn:microsoft.com/office/officeart/2005/8/layout/list1"/>
    <dgm:cxn modelId="{AFA8A127-15D5-4180-A79F-4691CB9BE5BF}" type="presParOf" srcId="{E766428B-10A6-4870-9CD8-6417A6353A8E}" destId="{49CD6499-1BEA-45A1-92B2-318C477D7AFC}" srcOrd="0" destOrd="0" presId="urn:microsoft.com/office/officeart/2005/8/layout/list1"/>
    <dgm:cxn modelId="{B8176D12-B273-4153-8BB8-B8C3071DAEA3}" type="presParOf" srcId="{49CD6499-1BEA-45A1-92B2-318C477D7AFC}" destId="{5016B779-6FDB-43E4-B134-3B76DCBA38B1}" srcOrd="0" destOrd="0" presId="urn:microsoft.com/office/officeart/2005/8/layout/list1"/>
    <dgm:cxn modelId="{2BF0FF84-1AD4-4EC7-9AD5-70526DF27CBF}" type="presParOf" srcId="{49CD6499-1BEA-45A1-92B2-318C477D7AFC}" destId="{F89C63A6-3CF0-4E4E-9C4F-AE1D7DB5B53F}" srcOrd="1" destOrd="0" presId="urn:microsoft.com/office/officeart/2005/8/layout/list1"/>
    <dgm:cxn modelId="{572C36F3-7346-49B8-8AFC-0023218F63E8}" type="presParOf" srcId="{E766428B-10A6-4870-9CD8-6417A6353A8E}" destId="{7F36C3F8-DA5D-4A2F-8FA3-70C4047FCA7E}" srcOrd="1" destOrd="0" presId="urn:microsoft.com/office/officeart/2005/8/layout/list1"/>
    <dgm:cxn modelId="{9D2A57BA-6134-4E95-AB1C-2E51D40E7CA4}" type="presParOf" srcId="{E766428B-10A6-4870-9CD8-6417A6353A8E}" destId="{D41E95C7-77DE-4516-A658-40B8C757062F}" srcOrd="2" destOrd="0" presId="urn:microsoft.com/office/officeart/2005/8/layout/list1"/>
    <dgm:cxn modelId="{7CF92A27-EB2B-44FB-983B-603993AEAE2A}" type="presParOf" srcId="{E766428B-10A6-4870-9CD8-6417A6353A8E}" destId="{61FEDFC5-FC47-4B79-B5F5-05BFFE8FB1C2}" srcOrd="3" destOrd="0" presId="urn:microsoft.com/office/officeart/2005/8/layout/list1"/>
    <dgm:cxn modelId="{8F012D03-F8D1-49AA-97B0-EA43F3437AB7}" type="presParOf" srcId="{E766428B-10A6-4870-9CD8-6417A6353A8E}" destId="{6654E6B0-5B89-41C7-BBA3-BDFBDC8CBFB6}" srcOrd="4" destOrd="0" presId="urn:microsoft.com/office/officeart/2005/8/layout/list1"/>
    <dgm:cxn modelId="{488DD7CA-A06B-4480-B148-D5A5EE5D2C01}" type="presParOf" srcId="{6654E6B0-5B89-41C7-BBA3-BDFBDC8CBFB6}" destId="{7DA0EA13-CB1C-494A-BF6D-4958771816B8}" srcOrd="0" destOrd="0" presId="urn:microsoft.com/office/officeart/2005/8/layout/list1"/>
    <dgm:cxn modelId="{6DD4FA31-FCCC-4FC0-A9ED-F243FBB17EEE}" type="presParOf" srcId="{6654E6B0-5B89-41C7-BBA3-BDFBDC8CBFB6}" destId="{4AD31C28-CE51-4055-8ECA-E4B2BA0AB638}" srcOrd="1" destOrd="0" presId="urn:microsoft.com/office/officeart/2005/8/layout/list1"/>
    <dgm:cxn modelId="{2DE1477C-36A6-4A9B-A239-3880BDF6D75A}" type="presParOf" srcId="{E766428B-10A6-4870-9CD8-6417A6353A8E}" destId="{EDAA737C-583F-44A5-B37C-5BF2A359DB24}" srcOrd="5" destOrd="0" presId="urn:microsoft.com/office/officeart/2005/8/layout/list1"/>
    <dgm:cxn modelId="{2A4B68BD-F51D-43D3-A976-F1873198E3DE}" type="presParOf" srcId="{E766428B-10A6-4870-9CD8-6417A6353A8E}" destId="{455B3486-8B68-4DFD-9BA3-31EB6F08188D}" srcOrd="6" destOrd="0" presId="urn:microsoft.com/office/officeart/2005/8/layout/list1"/>
    <dgm:cxn modelId="{B86387BB-2063-441C-AF3E-E7E96C54DD4B}" type="presParOf" srcId="{E766428B-10A6-4870-9CD8-6417A6353A8E}" destId="{E8E64634-3658-4215-9927-1EAAA7658445}" srcOrd="7" destOrd="0" presId="urn:microsoft.com/office/officeart/2005/8/layout/list1"/>
    <dgm:cxn modelId="{85FAC8C9-9F8E-4951-9E88-EE9FD98FBA32}" type="presParOf" srcId="{E766428B-10A6-4870-9CD8-6417A6353A8E}" destId="{2E34F21E-F629-475F-8843-4EC8AAF36FF3}" srcOrd="8" destOrd="0" presId="urn:microsoft.com/office/officeart/2005/8/layout/list1"/>
    <dgm:cxn modelId="{D2075CD6-6907-4E8B-9148-B58BC67EB1DE}" type="presParOf" srcId="{2E34F21E-F629-475F-8843-4EC8AAF36FF3}" destId="{AAA5B98D-E6E2-4C6F-9102-C4425839D1BD}" srcOrd="0" destOrd="0" presId="urn:microsoft.com/office/officeart/2005/8/layout/list1"/>
    <dgm:cxn modelId="{B1F5F777-D6F3-499C-9598-A7101777093A}" type="presParOf" srcId="{2E34F21E-F629-475F-8843-4EC8AAF36FF3}" destId="{8BA042A6-D8C9-4C6F-9AFE-C39F1CA6B129}" srcOrd="1" destOrd="0" presId="urn:microsoft.com/office/officeart/2005/8/layout/list1"/>
    <dgm:cxn modelId="{45D15C33-9370-4176-AAAD-1AB4854F20E7}" type="presParOf" srcId="{E766428B-10A6-4870-9CD8-6417A6353A8E}" destId="{467E66EA-9A47-47D5-9D44-7601BA79744B}" srcOrd="9" destOrd="0" presId="urn:microsoft.com/office/officeart/2005/8/layout/list1"/>
    <dgm:cxn modelId="{DD253EE6-E0FA-4636-A09C-81B22FB62E15}" type="presParOf" srcId="{E766428B-10A6-4870-9CD8-6417A6353A8E}" destId="{4BDE4D6A-41DD-45FB-9FC5-662DADC55392}" srcOrd="10"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D1DD7D-4364-4FC0-BD7A-6D752EA0C43B}">
      <dsp:nvSpPr>
        <dsp:cNvPr id="0" name=""/>
        <dsp:cNvSpPr/>
      </dsp:nvSpPr>
      <dsp:spPr>
        <a:xfrm>
          <a:off x="134166"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a:lnSpc>
              <a:spcPct val="90000"/>
            </a:lnSpc>
            <a:spcBef>
              <a:spcPct val="0"/>
            </a:spcBef>
            <a:spcAft>
              <a:spcPct val="15000"/>
            </a:spcAft>
            <a:buChar char="•"/>
          </a:pPr>
          <a:r>
            <a:rPr lang="en-US" sz="1400" b="1" kern="1200">
              <a:solidFill>
                <a:schemeClr val="accent1"/>
              </a:solidFill>
              <a:latin typeface="Arial"/>
              <a:cs typeface="Arial"/>
            </a:rPr>
            <a:t>President Abraham Lincoln Hotel, Springfield, IL</a:t>
          </a:r>
          <a:endParaRPr lang="en-US" sz="1400" b="1" kern="1200"/>
        </a:p>
        <a:p>
          <a:pPr marL="114300" lvl="1" indent="-114300" algn="l" defTabSz="622300">
            <a:lnSpc>
              <a:spcPct val="90000"/>
            </a:lnSpc>
            <a:spcBef>
              <a:spcPct val="0"/>
            </a:spcBef>
            <a:spcAft>
              <a:spcPct val="15000"/>
            </a:spcAft>
            <a:buChar char="•"/>
          </a:pPr>
          <a:endParaRPr lang="en-US" sz="1400" b="1"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OB- May 24th, Wednesday</a:t>
          </a:r>
        </a:p>
        <a:p>
          <a:pPr marL="114300" lvl="1" indent="-114300" algn="l" defTabSz="622300">
            <a:lnSpc>
              <a:spcPct val="90000"/>
            </a:lnSpc>
            <a:spcBef>
              <a:spcPct val="0"/>
            </a:spcBef>
            <a:spcAft>
              <a:spcPct val="15000"/>
            </a:spcAft>
            <a:buChar char="•"/>
          </a:pPr>
          <a:endParaRPr lang="en-US" sz="1400" kern="1200">
            <a:latin typeface="Arial"/>
            <a:cs typeface="Arial"/>
          </a:endParaRPr>
        </a:p>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Neonatal- May 25th, Thursday</a:t>
          </a:r>
        </a:p>
        <a:p>
          <a:pPr marL="114300" lvl="1" indent="-114300" algn="l" defTabSz="622300">
            <a:lnSpc>
              <a:spcPct val="90000"/>
            </a:lnSpc>
            <a:spcBef>
              <a:spcPct val="0"/>
            </a:spcBef>
            <a:spcAft>
              <a:spcPct val="15000"/>
            </a:spcAft>
            <a:buChar char="•"/>
          </a:pPr>
          <a:endParaRPr lang="en-US" sz="1400" b="0" kern="120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ILPQC Room Block TBA</a:t>
          </a:r>
        </a:p>
      </dsp:txBody>
      <dsp:txXfrm>
        <a:off x="195124" y="1439447"/>
        <a:ext cx="3089641" cy="1959333"/>
      </dsp:txXfrm>
    </dsp:sp>
    <dsp:sp modelId="{45570AD1-CF0C-47D8-981B-8E7712F67C98}">
      <dsp:nvSpPr>
        <dsp:cNvPr id="0" name=""/>
        <dsp:cNvSpPr/>
      </dsp:nvSpPr>
      <dsp:spPr>
        <a:xfrm>
          <a:off x="1912832" y="1915465"/>
          <a:ext cx="3680470" cy="3680470"/>
        </a:xfrm>
        <a:prstGeom prst="leftCircularArrow">
          <a:avLst>
            <a:gd name="adj1" fmla="val 3529"/>
            <a:gd name="adj2" fmla="val 438119"/>
            <a:gd name="adj3" fmla="val 2213630"/>
            <a:gd name="adj4" fmla="val 9024489"/>
            <a:gd name="adj5" fmla="val 4117"/>
          </a:avLst>
        </a:prstGeom>
        <a:solidFill>
          <a:schemeClr val="accent3">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EDF25B74-59DB-459F-AE5B-545FBC851F87}">
      <dsp:nvSpPr>
        <dsp:cNvPr id="0" name=""/>
        <dsp:cNvSpPr/>
      </dsp:nvSpPr>
      <dsp:spPr>
        <a:xfrm>
          <a:off x="847845" y="3459739"/>
          <a:ext cx="2854717" cy="1135227"/>
        </a:xfrm>
        <a:prstGeom prst="roundRect">
          <a:avLst>
            <a:gd name="adj" fmla="val 10000"/>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kern="1200">
              <a:solidFill>
                <a:schemeClr val="accent1"/>
              </a:solidFill>
              <a:latin typeface="Arial"/>
              <a:cs typeface="Arial"/>
            </a:rPr>
            <a:t> </a:t>
          </a:r>
          <a:r>
            <a:rPr lang="en-US" sz="3200" b="1" kern="1200">
              <a:solidFill>
                <a:schemeClr val="accent1"/>
              </a:solidFill>
              <a:latin typeface="Arial"/>
              <a:cs typeface="Arial"/>
            </a:rPr>
            <a:t>Save the Dates!</a:t>
          </a:r>
        </a:p>
      </dsp:txBody>
      <dsp:txXfrm>
        <a:off x="881095" y="3492989"/>
        <a:ext cx="2788217" cy="1068727"/>
      </dsp:txXfrm>
    </dsp:sp>
    <dsp:sp modelId="{E4540ED4-266A-4F12-A6E6-014BC83EACEC}">
      <dsp:nvSpPr>
        <dsp:cNvPr id="0" name=""/>
        <dsp:cNvSpPr/>
      </dsp:nvSpPr>
      <dsp:spPr>
        <a:xfrm>
          <a:off x="4320990" y="1378489"/>
          <a:ext cx="3211557"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1162435"/>
              <a:satOff val="5350"/>
              <a:lumOff val="-9018"/>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kern="1200">
              <a:solidFill>
                <a:schemeClr val="accent1"/>
              </a:solidFill>
              <a:latin typeface="Arial"/>
              <a:cs typeface="Arial"/>
            </a:rPr>
            <a:t>Submit </a:t>
          </a:r>
          <a:r>
            <a:rPr lang="en-US" sz="1400" b="1" u="sng" kern="1200">
              <a:solidFill>
                <a:schemeClr val="accent1"/>
              </a:solidFill>
              <a:latin typeface="Arial"/>
              <a:cs typeface="Arial"/>
            </a:rPr>
            <a:t>all your 2022 data</a:t>
          </a:r>
          <a:r>
            <a:rPr lang="en-US" sz="1400" kern="1200">
              <a:solidFill>
                <a:schemeClr val="accent1"/>
              </a:solidFill>
              <a:latin typeface="Arial"/>
              <a:cs typeface="Arial"/>
            </a:rPr>
            <a:t> plus </a:t>
          </a:r>
          <a:r>
            <a:rPr lang="en-US" sz="1400" b="1" u="sng" kern="1200">
              <a:solidFill>
                <a:schemeClr val="accent1"/>
              </a:solidFill>
              <a:latin typeface="Arial"/>
              <a:cs typeface="Arial"/>
            </a:rPr>
            <a:t>January, February, March 2023</a:t>
          </a:r>
        </a:p>
        <a:p>
          <a:pPr marL="114300" lvl="1" indent="-114300" algn="l" defTabSz="622300">
            <a:lnSpc>
              <a:spcPct val="90000"/>
            </a:lnSpc>
            <a:spcBef>
              <a:spcPct val="0"/>
            </a:spcBef>
            <a:spcAft>
              <a:spcPct val="15000"/>
            </a:spcAft>
            <a:buChar char="•"/>
          </a:pPr>
          <a:endParaRPr lang="en-US" sz="1400" b="1" u="sng" kern="1200">
            <a:latin typeface="Arial"/>
            <a:cs typeface="Arial"/>
          </a:endParaRPr>
        </a:p>
        <a:p>
          <a:pPr marL="114300" lvl="1" indent="-114300" algn="l" defTabSz="622300" rtl="0">
            <a:lnSpc>
              <a:spcPct val="90000"/>
            </a:lnSpc>
            <a:spcBef>
              <a:spcPct val="0"/>
            </a:spcBef>
            <a:spcAft>
              <a:spcPct val="15000"/>
            </a:spcAft>
            <a:buChar char="•"/>
          </a:pPr>
          <a:r>
            <a:rPr lang="en-US" sz="1400" b="0" u="none" kern="1200">
              <a:solidFill>
                <a:schemeClr val="accent1"/>
              </a:solidFill>
              <a:latin typeface="Arial"/>
              <a:cs typeface="Arial"/>
            </a:rPr>
            <a:t>Review the award criteria for PVB, BE, and BASIC to achieve QI Excellence! </a:t>
          </a:r>
        </a:p>
      </dsp:txBody>
      <dsp:txXfrm>
        <a:off x="4381948" y="2007061"/>
        <a:ext cx="3089641" cy="1959333"/>
      </dsp:txXfrm>
    </dsp:sp>
    <dsp:sp modelId="{1D37E62D-9731-4C64-8EAB-56792DAF9616}">
      <dsp:nvSpPr>
        <dsp:cNvPr id="0" name=""/>
        <dsp:cNvSpPr/>
      </dsp:nvSpPr>
      <dsp:spPr>
        <a:xfrm>
          <a:off x="6081025" y="-276002"/>
          <a:ext cx="4003096" cy="4003096"/>
        </a:xfrm>
        <a:prstGeom prst="circularArrow">
          <a:avLst>
            <a:gd name="adj1" fmla="val 3244"/>
            <a:gd name="adj2" fmla="val 400095"/>
            <a:gd name="adj3" fmla="val 19415362"/>
            <a:gd name="adj4" fmla="val 12566479"/>
            <a:gd name="adj5" fmla="val 3785"/>
          </a:avLst>
        </a:prstGeom>
        <a:solidFill>
          <a:schemeClr val="accent3">
            <a:hueOff val="2324871"/>
            <a:satOff val="10701"/>
            <a:lumOff val="-18037"/>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CF5C580D-10AF-44A7-8FE5-3CB764BF1B81}">
      <dsp:nvSpPr>
        <dsp:cNvPr id="0" name=""/>
        <dsp:cNvSpPr/>
      </dsp:nvSpPr>
      <dsp:spPr>
        <a:xfrm>
          <a:off x="5034670" y="810876"/>
          <a:ext cx="2854717" cy="1135227"/>
        </a:xfrm>
        <a:prstGeom prst="roundRect">
          <a:avLst>
            <a:gd name="adj" fmla="val 10000"/>
          </a:avLst>
        </a:prstGeom>
        <a:solidFill>
          <a:schemeClr val="accent3">
            <a:hueOff val="1162435"/>
            <a:satOff val="5350"/>
            <a:lumOff val="-901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Submit your Data!</a:t>
          </a:r>
          <a:r>
            <a:rPr lang="en-US" sz="3200" kern="1200">
              <a:solidFill>
                <a:schemeClr val="accent1"/>
              </a:solidFill>
              <a:latin typeface="Arial"/>
              <a:cs typeface="Arial"/>
            </a:rPr>
            <a:t> </a:t>
          </a:r>
        </a:p>
      </dsp:txBody>
      <dsp:txXfrm>
        <a:off x="5067920" y="844126"/>
        <a:ext cx="2788217" cy="1068727"/>
      </dsp:txXfrm>
    </dsp:sp>
    <dsp:sp modelId="{4EC3BF90-59CB-4CD5-8E65-F8EECE8EB3B7}">
      <dsp:nvSpPr>
        <dsp:cNvPr id="0" name=""/>
        <dsp:cNvSpPr/>
      </dsp:nvSpPr>
      <dsp:spPr>
        <a:xfrm>
          <a:off x="8273339" y="1369987"/>
          <a:ext cx="3527895" cy="2648863"/>
        </a:xfrm>
        <a:prstGeom prst="roundRect">
          <a:avLst>
            <a:gd name="adj" fmla="val 10000"/>
          </a:avLst>
        </a:prstGeom>
        <a:solidFill>
          <a:schemeClr val="lt1">
            <a:alpha val="90000"/>
            <a:hueOff val="0"/>
            <a:satOff val="0"/>
            <a:lumOff val="0"/>
            <a:alphaOff val="0"/>
          </a:schemeClr>
        </a:solidFill>
        <a:ln w="12700" cap="flat" cmpd="sng" algn="ctr">
          <a:solidFill>
            <a:schemeClr val="accent3">
              <a:hueOff val="2324871"/>
              <a:satOff val="10701"/>
              <a:lumOff val="-18037"/>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6670" tIns="26670" rIns="26670" bIns="26670" numCol="1" spcCol="1270" anchor="t" anchorCtr="0">
          <a:noAutofit/>
        </a:bodyPr>
        <a:lstStyle/>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tart brainstorming your storyboard ideas! </a:t>
          </a:r>
        </a:p>
        <a:p>
          <a:pPr marL="114300" lvl="1" indent="-114300" algn="l" defTabSz="622300" rtl="0">
            <a:lnSpc>
              <a:spcPct val="90000"/>
            </a:lnSpc>
            <a:spcBef>
              <a:spcPct val="0"/>
            </a:spcBef>
            <a:spcAft>
              <a:spcPct val="15000"/>
            </a:spcAft>
            <a:buChar char="•"/>
          </a:pPr>
          <a:r>
            <a:rPr lang="en-US" sz="1400" b="1" kern="1200" dirty="0">
              <a:solidFill>
                <a:schemeClr val="accent1"/>
              </a:solidFill>
              <a:latin typeface="Arial"/>
              <a:cs typeface="Arial"/>
            </a:rPr>
            <a:t>Share your teams past year QI story </a:t>
          </a:r>
        </a:p>
        <a:p>
          <a:pPr marL="114300" lvl="1" indent="-114300" algn="l" defTabSz="622300">
            <a:lnSpc>
              <a:spcPct val="90000"/>
            </a:lnSpc>
            <a:spcBef>
              <a:spcPct val="0"/>
            </a:spcBef>
            <a:spcAft>
              <a:spcPct val="15000"/>
            </a:spcAft>
            <a:buChar char="•"/>
          </a:pPr>
          <a:endParaRPr lang="en-US" sz="1400" b="1" kern="1200" dirty="0">
            <a:latin typeface="Arial"/>
            <a:cs typeface="Arial"/>
          </a:endParaRPr>
        </a:p>
        <a:p>
          <a:pPr marL="114300" lvl="1" indent="-114300" algn="l" defTabSz="622300" rtl="0">
            <a:lnSpc>
              <a:spcPct val="90000"/>
            </a:lnSpc>
            <a:spcBef>
              <a:spcPct val="0"/>
            </a:spcBef>
            <a:spcAft>
              <a:spcPct val="15000"/>
            </a:spcAft>
            <a:buChar char="•"/>
          </a:pPr>
          <a:r>
            <a:rPr lang="en-US" sz="1400" b="0" kern="1200">
              <a:solidFill>
                <a:schemeClr val="accent1"/>
              </a:solidFill>
              <a:latin typeface="Arial"/>
              <a:cs typeface="Arial"/>
            </a:rPr>
            <a:t>Share your successes, opportunities, and specific strategies implemented! </a:t>
          </a:r>
        </a:p>
        <a:p>
          <a:pPr marL="114300" lvl="1" indent="-114300" algn="l" defTabSz="622300" rtl="0">
            <a:lnSpc>
              <a:spcPct val="90000"/>
            </a:lnSpc>
            <a:spcBef>
              <a:spcPct val="0"/>
            </a:spcBef>
            <a:spcAft>
              <a:spcPct val="15000"/>
            </a:spcAft>
            <a:buChar char="•"/>
          </a:pPr>
          <a:r>
            <a:rPr lang="en-US" sz="1400" b="0" kern="1200" dirty="0">
              <a:solidFill>
                <a:schemeClr val="accent1"/>
              </a:solidFill>
              <a:latin typeface="Arial"/>
              <a:cs typeface="Arial"/>
            </a:rPr>
            <a:t>Share your DATA, graphs, PDSA cycles, process flow or 30/60/90 plans</a:t>
          </a:r>
        </a:p>
      </dsp:txBody>
      <dsp:txXfrm>
        <a:off x="8334297" y="1430945"/>
        <a:ext cx="3405979" cy="1959333"/>
      </dsp:txXfrm>
    </dsp:sp>
    <dsp:sp modelId="{2A29C3C5-932D-4B6F-8969-B5E5B16FD239}">
      <dsp:nvSpPr>
        <dsp:cNvPr id="0" name=""/>
        <dsp:cNvSpPr/>
      </dsp:nvSpPr>
      <dsp:spPr>
        <a:xfrm>
          <a:off x="9379663" y="3459739"/>
          <a:ext cx="2854717" cy="1135227"/>
        </a:xfrm>
        <a:prstGeom prst="roundRect">
          <a:avLst>
            <a:gd name="adj" fmla="val 10000"/>
          </a:avLst>
        </a:prstGeom>
        <a:solidFill>
          <a:schemeClr val="accent3">
            <a:hueOff val="2324871"/>
            <a:satOff val="10701"/>
            <a:lumOff val="-1803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40640" rIns="60960" bIns="40640" numCol="1" spcCol="1270" anchor="ctr" anchorCtr="0">
          <a:noAutofit/>
        </a:bodyPr>
        <a:lstStyle/>
        <a:p>
          <a:pPr marL="0" lvl="0" indent="0" algn="ctr" defTabSz="1422400" rtl="0">
            <a:lnSpc>
              <a:spcPct val="90000"/>
            </a:lnSpc>
            <a:spcBef>
              <a:spcPct val="0"/>
            </a:spcBef>
            <a:spcAft>
              <a:spcPct val="35000"/>
            </a:spcAft>
            <a:buNone/>
          </a:pPr>
          <a:r>
            <a:rPr lang="en-US" sz="3200" b="1" kern="1200">
              <a:solidFill>
                <a:schemeClr val="accent1"/>
              </a:solidFill>
              <a:latin typeface="Arial"/>
              <a:cs typeface="Arial"/>
            </a:rPr>
            <a:t> Storyboard Submissions!</a:t>
          </a:r>
        </a:p>
      </dsp:txBody>
      <dsp:txXfrm>
        <a:off x="9412913" y="3492989"/>
        <a:ext cx="2788217" cy="106872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F6E47F-41B6-4B49-9AB9-C4F53C51F631}">
      <dsp:nvSpPr>
        <dsp:cNvPr id="0" name=""/>
        <dsp:cNvSpPr/>
      </dsp:nvSpPr>
      <dsp:spPr>
        <a:xfrm>
          <a:off x="0" y="0"/>
          <a:ext cx="7929796" cy="1341031"/>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txBody>
        <a:bodyPr spcFirstLastPara="0" vert="horz" wrap="square" lIns="182880" tIns="182880" rIns="182880" bIns="182880" numCol="1" spcCol="1270" anchor="ctr" anchorCtr="0">
          <a:noAutofit/>
        </a:bodyPr>
        <a:lstStyle/>
        <a:p>
          <a:pPr marL="0" lvl="0" indent="0" algn="ctr" defTabSz="2133600" rtl="0">
            <a:lnSpc>
              <a:spcPct val="90000"/>
            </a:lnSpc>
            <a:spcBef>
              <a:spcPct val="0"/>
            </a:spcBef>
            <a:spcAft>
              <a:spcPts val="600"/>
            </a:spcAft>
            <a:buNone/>
          </a:pPr>
          <a:r>
            <a:rPr lang="en-US" sz="4800" kern="1200"/>
            <a:t>PVB Finish Line Goals:</a:t>
          </a:r>
          <a:r>
            <a:rPr lang="en-US" sz="4800" kern="1200">
              <a:latin typeface="Calibri" panose="020F0502020204030204"/>
            </a:rPr>
            <a:t> </a:t>
          </a:r>
          <a:endParaRPr lang="en-US" sz="4800" kern="1200"/>
        </a:p>
        <a:p>
          <a:pPr marL="0" lvl="0" indent="0" algn="ctr" defTabSz="2133600">
            <a:lnSpc>
              <a:spcPct val="90000"/>
            </a:lnSpc>
            <a:spcBef>
              <a:spcPct val="0"/>
            </a:spcBef>
            <a:spcAft>
              <a:spcPts val="600"/>
            </a:spcAft>
            <a:buNone/>
          </a:pPr>
          <a:r>
            <a:rPr lang="en-US" sz="3600" kern="1200"/>
            <a:t>QI Excellence Award</a:t>
          </a:r>
        </a:p>
      </dsp:txBody>
      <dsp:txXfrm>
        <a:off x="0" y="0"/>
        <a:ext cx="7929796" cy="1341031"/>
      </dsp:txXfrm>
    </dsp:sp>
    <dsp:sp modelId="{A5146FFA-5D72-4150-A4B0-92581BC433E9}">
      <dsp:nvSpPr>
        <dsp:cNvPr id="0" name=""/>
        <dsp:cNvSpPr/>
      </dsp:nvSpPr>
      <dsp:spPr>
        <a:xfrm>
          <a:off x="0" y="1341031"/>
          <a:ext cx="1982449" cy="2816166"/>
        </a:xfrm>
        <a:prstGeom prst="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u="sng" kern="1200"/>
            <a:t>6</a:t>
          </a:r>
          <a:r>
            <a:rPr lang="en-US" sz="2600" kern="1200"/>
            <a:t> Key Structure Measures in Place</a:t>
          </a:r>
        </a:p>
      </dsp:txBody>
      <dsp:txXfrm>
        <a:off x="0" y="1341031"/>
        <a:ext cx="1982449" cy="2816166"/>
      </dsp:txXfrm>
    </dsp:sp>
    <dsp:sp modelId="{30CB18CA-6184-4B31-8689-5ED885DAC293}">
      <dsp:nvSpPr>
        <dsp:cNvPr id="0" name=""/>
        <dsp:cNvSpPr/>
      </dsp:nvSpPr>
      <dsp:spPr>
        <a:xfrm>
          <a:off x="1982449" y="1341031"/>
          <a:ext cx="1982449" cy="2816166"/>
        </a:xfrm>
        <a:prstGeom prst="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a:lnSpc>
              <a:spcPct val="90000"/>
            </a:lnSpc>
            <a:spcBef>
              <a:spcPct val="0"/>
            </a:spcBef>
            <a:spcAft>
              <a:spcPct val="35000"/>
            </a:spcAft>
            <a:buNone/>
          </a:pPr>
          <a:r>
            <a:rPr lang="en-US" sz="2600" b="1" u="sng" kern="1200"/>
            <a:t>80% </a:t>
          </a:r>
          <a:r>
            <a:rPr lang="en-US" sz="2600" kern="1200"/>
            <a:t>of Providers and Nurses educated on ACOG/SMFM Guidelines</a:t>
          </a:r>
          <a:endParaRPr lang="en-US" sz="2600" b="1" u="sng" kern="1200"/>
        </a:p>
      </dsp:txBody>
      <dsp:txXfrm>
        <a:off x="1982449" y="1341031"/>
        <a:ext cx="1982449" cy="2816166"/>
      </dsp:txXfrm>
    </dsp:sp>
    <dsp:sp modelId="{A13BCFBA-5639-4275-9D30-DA41E66B4D95}">
      <dsp:nvSpPr>
        <dsp:cNvPr id="0" name=""/>
        <dsp:cNvSpPr/>
      </dsp:nvSpPr>
      <dsp:spPr>
        <a:xfrm>
          <a:off x="3964898" y="1341031"/>
          <a:ext cx="1982449" cy="2816166"/>
        </a:xfrm>
        <a:prstGeom prst="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b="1" u="sng" kern="1200">
              <a:ea typeface="+mn-lt"/>
              <a:cs typeface="+mn-lt"/>
            </a:rPr>
            <a:t>80% </a:t>
          </a:r>
          <a:r>
            <a:rPr lang="en-US" sz="2600" kern="1200">
              <a:ea typeface="+mn-lt"/>
              <a:cs typeface="+mn-lt"/>
            </a:rPr>
            <a:t>of all NTSV C-Sections Meeting ACOG/SMFM Guidelines</a:t>
          </a:r>
          <a:r>
            <a:rPr lang="en-US" sz="2600" kern="1200">
              <a:latin typeface="Calibri" panose="020F0502020204030204"/>
              <a:ea typeface="+mn-lt"/>
              <a:cs typeface="+mn-lt"/>
            </a:rPr>
            <a:t> </a:t>
          </a:r>
          <a:endParaRPr lang="en-US" sz="2600" b="1" u="sng" kern="1200"/>
        </a:p>
      </dsp:txBody>
      <dsp:txXfrm>
        <a:off x="3964898" y="1341031"/>
        <a:ext cx="1982449" cy="2816166"/>
      </dsp:txXfrm>
    </dsp:sp>
    <dsp:sp modelId="{33422456-B9A2-481F-A97B-DD1DEB2E620E}">
      <dsp:nvSpPr>
        <dsp:cNvPr id="0" name=""/>
        <dsp:cNvSpPr/>
      </dsp:nvSpPr>
      <dsp:spPr>
        <a:xfrm>
          <a:off x="5947347" y="1341031"/>
          <a:ext cx="1982449" cy="2816166"/>
        </a:xfrm>
        <a:prstGeom prst="rect">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9060" tIns="99060" rIns="99060" bIns="99060" numCol="1" spcCol="1270" anchor="ctr" anchorCtr="0">
          <a:noAutofit/>
        </a:bodyPr>
        <a:lstStyle/>
        <a:p>
          <a:pPr marL="0" lvl="0" indent="0" algn="ctr" defTabSz="1155700" rtl="0">
            <a:lnSpc>
              <a:spcPct val="90000"/>
            </a:lnSpc>
            <a:spcBef>
              <a:spcPct val="0"/>
            </a:spcBef>
            <a:spcAft>
              <a:spcPct val="35000"/>
            </a:spcAft>
            <a:buNone/>
          </a:pPr>
          <a:r>
            <a:rPr lang="en-US" sz="2600" kern="1200"/>
            <a:t>NTSV C-Section Rate </a:t>
          </a:r>
          <a:r>
            <a:rPr lang="en-US" sz="2600" b="0" u="none" kern="1200"/>
            <a:t>≤</a:t>
          </a:r>
          <a:r>
            <a:rPr lang="en-US" sz="2600" b="1" u="sng" kern="1200"/>
            <a:t>23.6%</a:t>
          </a:r>
        </a:p>
      </dsp:txBody>
      <dsp:txXfrm>
        <a:off x="5947347" y="1341031"/>
        <a:ext cx="1982449" cy="2816166"/>
      </dsp:txXfrm>
    </dsp:sp>
    <dsp:sp modelId="{D0C257B7-398B-4816-9754-9EB0FA58D548}">
      <dsp:nvSpPr>
        <dsp:cNvPr id="0" name=""/>
        <dsp:cNvSpPr/>
      </dsp:nvSpPr>
      <dsp:spPr>
        <a:xfrm>
          <a:off x="0" y="4157198"/>
          <a:ext cx="7929796" cy="312907"/>
        </a:xfrm>
        <a:prstGeom prst="rect">
          <a:avLst/>
        </a:prstGeom>
        <a:solidFill>
          <a:srgbClr val="1C498B"/>
        </a:solidFill>
        <a:ln>
          <a:noFill/>
        </a:ln>
        <a:effectLst/>
      </dsp:spPr>
      <dsp:style>
        <a:lnRef idx="0">
          <a:scrgbClr r="0" g="0" b="0"/>
        </a:lnRef>
        <a:fillRef idx="1">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1E95C7-77DE-4516-A658-40B8C757062F}">
      <dsp:nvSpPr>
        <dsp:cNvPr id="0" name=""/>
        <dsp:cNvSpPr/>
      </dsp:nvSpPr>
      <dsp:spPr>
        <a:xfrm>
          <a:off x="0" y="1545993"/>
          <a:ext cx="10791952" cy="579600"/>
        </a:xfrm>
        <a:prstGeom prst="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F89C63A6-3CF0-4E4E-9C4F-AE1D7DB5B53F}">
      <dsp:nvSpPr>
        <dsp:cNvPr id="0" name=""/>
        <dsp:cNvSpPr/>
      </dsp:nvSpPr>
      <dsp:spPr>
        <a:xfrm>
          <a:off x="1637689" y="1206513"/>
          <a:ext cx="7554366" cy="678960"/>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37" tIns="0" rIns="285537" bIns="0" numCol="1" spcCol="1270" anchor="ctr" anchorCtr="0">
          <a:noAutofit/>
        </a:bodyPr>
        <a:lstStyle/>
        <a:p>
          <a:pPr marL="0" lvl="0" indent="0" algn="l" defTabSz="1022350">
            <a:lnSpc>
              <a:spcPct val="90000"/>
            </a:lnSpc>
            <a:spcBef>
              <a:spcPct val="0"/>
            </a:spcBef>
            <a:spcAft>
              <a:spcPct val="35000"/>
            </a:spcAft>
            <a:buNone/>
          </a:pPr>
          <a:r>
            <a:rPr lang="en-US" sz="2300" kern="1200" dirty="0"/>
            <a:t>Your NTSV C-Section Rate (if you are comfortable sharing)</a:t>
          </a:r>
        </a:p>
      </dsp:txBody>
      <dsp:txXfrm>
        <a:off x="1670833" y="1239657"/>
        <a:ext cx="7488078" cy="612672"/>
      </dsp:txXfrm>
    </dsp:sp>
    <dsp:sp modelId="{455B3486-8B68-4DFD-9BA3-31EB6F08188D}">
      <dsp:nvSpPr>
        <dsp:cNvPr id="0" name=""/>
        <dsp:cNvSpPr/>
      </dsp:nvSpPr>
      <dsp:spPr>
        <a:xfrm>
          <a:off x="0" y="2589273"/>
          <a:ext cx="10791952" cy="5796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4AD31C28-CE51-4055-8ECA-E4B2BA0AB638}">
      <dsp:nvSpPr>
        <dsp:cNvPr id="0" name=""/>
        <dsp:cNvSpPr/>
      </dsp:nvSpPr>
      <dsp:spPr>
        <a:xfrm>
          <a:off x="1636858" y="2213217"/>
          <a:ext cx="7554366" cy="67896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37" tIns="0" rIns="285537" bIns="0" numCol="1" spcCol="1270" anchor="ctr" anchorCtr="0">
          <a:noAutofit/>
        </a:bodyPr>
        <a:lstStyle/>
        <a:p>
          <a:pPr marL="0" lvl="0" indent="0" algn="l" defTabSz="1022350">
            <a:lnSpc>
              <a:spcPct val="90000"/>
            </a:lnSpc>
            <a:spcBef>
              <a:spcPct val="0"/>
            </a:spcBef>
            <a:spcAft>
              <a:spcPct val="35000"/>
            </a:spcAft>
            <a:buNone/>
          </a:pPr>
          <a:r>
            <a:rPr lang="en-US" sz="2300" kern="1200"/>
            <a:t>Strategies your PVB has successfully implemented </a:t>
          </a:r>
          <a:endParaRPr lang="en-US" sz="2300" kern="1200" dirty="0"/>
        </a:p>
      </dsp:txBody>
      <dsp:txXfrm>
        <a:off x="1670002" y="2246361"/>
        <a:ext cx="7488078" cy="612672"/>
      </dsp:txXfrm>
    </dsp:sp>
    <dsp:sp modelId="{4BDE4D6A-41DD-45FB-9FC5-662DADC55392}">
      <dsp:nvSpPr>
        <dsp:cNvPr id="0" name=""/>
        <dsp:cNvSpPr/>
      </dsp:nvSpPr>
      <dsp:spPr>
        <a:xfrm>
          <a:off x="0" y="3632553"/>
          <a:ext cx="10791952" cy="579600"/>
        </a:xfrm>
        <a:prstGeom prst="rect">
          <a:avLst/>
        </a:prstGeom>
        <a:noFill/>
        <a:ln w="12700" cap="flat" cmpd="sng" algn="ctr">
          <a:solidFill>
            <a:schemeClr val="accent5"/>
          </a:solidFill>
          <a:prstDash val="solid"/>
          <a:miter lim="800000"/>
        </a:ln>
        <a:effectLst/>
      </dsp:spPr>
      <dsp:style>
        <a:lnRef idx="2">
          <a:scrgbClr r="0" g="0" b="0"/>
        </a:lnRef>
        <a:fillRef idx="1">
          <a:scrgbClr r="0" g="0" b="0"/>
        </a:fillRef>
        <a:effectRef idx="0">
          <a:scrgbClr r="0" g="0" b="0"/>
        </a:effectRef>
        <a:fontRef idx="minor"/>
      </dsp:style>
    </dsp:sp>
    <dsp:sp modelId="{8BA042A6-D8C9-4C6F-9AFE-C39F1CA6B129}">
      <dsp:nvSpPr>
        <dsp:cNvPr id="0" name=""/>
        <dsp:cNvSpPr/>
      </dsp:nvSpPr>
      <dsp:spPr>
        <a:xfrm>
          <a:off x="1645999" y="3274782"/>
          <a:ext cx="7554366" cy="678960"/>
        </a:xfrm>
        <a:prstGeom prst="roundRect">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85537" tIns="0" rIns="285537" bIns="0" numCol="1" spcCol="1270" anchor="ctr" anchorCtr="0">
          <a:noAutofit/>
        </a:bodyPr>
        <a:lstStyle/>
        <a:p>
          <a:pPr marL="0" lvl="0" indent="0" algn="l" defTabSz="1022350">
            <a:lnSpc>
              <a:spcPct val="90000"/>
            </a:lnSpc>
            <a:spcBef>
              <a:spcPct val="0"/>
            </a:spcBef>
            <a:spcAft>
              <a:spcPct val="35000"/>
            </a:spcAft>
            <a:buNone/>
          </a:pPr>
          <a:r>
            <a:rPr lang="en-US" sz="2300" kern="1200"/>
            <a:t>Challenges you are facing with PVB implementation</a:t>
          </a:r>
          <a:endParaRPr lang="en-US" sz="2300" kern="1200" dirty="0"/>
        </a:p>
      </dsp:txBody>
      <dsp:txXfrm>
        <a:off x="1679143" y="3307926"/>
        <a:ext cx="7488078" cy="612672"/>
      </dsp:txXfrm>
    </dsp:sp>
  </dsp:spTree>
</dsp:drawing>
</file>

<file path=ppt/diagrams/layout1.xml><?xml version="1.0" encoding="utf-8"?>
<dgm:layoutDef xmlns:dgm="http://schemas.openxmlformats.org/drawingml/2006/diagram" xmlns:a="http://schemas.openxmlformats.org/drawingml/2006/main" uniqueId="urn:microsoft.com/office/officeart/2005/8/layout/hProcess4">
  <dgm:title val=""/>
  <dgm:desc val=""/>
  <dgm:catLst>
    <dgm:cat type="process" pri="4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alg type="composite"/>
    <dgm:shape xmlns:r="http://schemas.openxmlformats.org/officeDocument/2006/relationships" r:blip="">
      <dgm:adjLst/>
    </dgm:shape>
    <dgm:presOf/>
    <dgm:constrLst>
      <dgm:constr type="w" for="ch" forName="tSp" refType="w"/>
      <dgm:constr type="h" for="ch" forName="tSp" refType="h" fact="0.15"/>
      <dgm:constr type="l" for="ch" forName="tSp"/>
      <dgm:constr type="t" for="ch" forName="tSp"/>
      <dgm:constr type="w" for="ch" forName="bSp" refType="w"/>
      <dgm:constr type="h" for="ch" forName="bSp" refType="h" fact="0.15"/>
      <dgm:constr type="l" for="ch" forName="bSp"/>
      <dgm:constr type="t" for="ch" forName="bSp" refType="h" fact="0.85"/>
      <dgm:constr type="w" for="ch" forName="process" refType="w"/>
      <dgm:constr type="h" for="ch" forName="process" refType="h" fact="0.7"/>
      <dgm:constr type="l" for="ch" forName="process"/>
      <dgm:constr type="t" for="ch" forName="process" refType="h" fact="0.15"/>
    </dgm:constrLst>
    <dgm:ruleLst/>
    <dgm:layoutNode name="tSp">
      <dgm:alg type="sp"/>
      <dgm:shape xmlns:r="http://schemas.openxmlformats.org/officeDocument/2006/relationships" r:blip="">
        <dgm:adjLst/>
      </dgm:shape>
      <dgm:presOf/>
      <dgm:constrLst/>
      <dgm:ruleLst/>
    </dgm:layoutNode>
    <dgm:layoutNode name="bSp">
      <dgm:alg type="sp"/>
      <dgm:shape xmlns:r="http://schemas.openxmlformats.org/officeDocument/2006/relationships" r:blip="">
        <dgm:adjLst/>
      </dgm:shape>
      <dgm:presOf/>
      <dgm:constrLst/>
      <dgm:ruleLst/>
    </dgm:layoutNode>
    <dgm:layoutNode name="process">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composite1" refType="w"/>
        <dgm:constr type="w" for="ch" forName="composite2" refType="w" refFor="ch" refForName="composite1" op="equ"/>
        <dgm:constr type="h" for="ch" forName="composite1" refType="h"/>
        <dgm:constr type="h" for="ch" forName="composite2" refType="h" refFor="ch" refForName="composite1" op="equ"/>
        <dgm:constr type="primFontSz" for="des" forName="parentNode1" val="65"/>
        <dgm:constr type="primFontSz" for="des" forName="parentNode2" refType="primFontSz" refFor="des" refForName="parentNode1" op="equ"/>
        <dgm:constr type="secFontSz" for="des" forName="childNode1tx" val="65"/>
        <dgm:constr type="secFontSz" for="des" forName="childNode2tx" refType="secFontSz" refFor="des" refForName="childNode1tx" op="equ"/>
        <dgm:constr type="w" for="des" ptType="sibTrans" refType="w" refFor="ch" refForName="composite1" op="equ" fact="0.05"/>
      </dgm:constrLst>
      <dgm:ruleLst/>
      <dgm:forEach name="Name4" axis="ch" ptType="node" step="2">
        <dgm:layoutNode name="composite1">
          <dgm:alg type="composite">
            <dgm:param type="ar" val="0.943"/>
          </dgm:alg>
          <dgm:shape xmlns:r="http://schemas.openxmlformats.org/officeDocument/2006/relationships" r:blip="">
            <dgm:adjLst/>
          </dgm:shape>
          <dgm:presOf/>
          <dgm:choose name="Name5">
            <dgm:if name="Name6" func="var" arg="dir" op="equ" val="norm">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dgm:constr type="w" for="ch" forName="childNode1tx" refType="w" fact="0.9"/>
                <dgm:constr type="h" for="ch" forName="childNode1tx" refType="h" fact="0.55"/>
                <dgm:constr type="t" for="ch" forName="childNode1tx" refType="h" fact="0.15"/>
                <dgm:constr type="l" for="ch" forName="childNode1tx"/>
                <dgm:constr type="w" for="ch" forName="parentNode1" refType="w" fact="0.8"/>
                <dgm:constr type="h" for="ch" forName="parentNode1" refType="h" fact="0.3"/>
                <dgm:constr type="t" for="ch" forName="parentNode1" refType="h" fact="0.7"/>
                <dgm:constr type="l" for="ch" forName="parentNode1" refType="w" fact="0.2"/>
                <dgm:constr type="w" for="ch" forName="connSite1" refType="w" fact="0.01"/>
                <dgm:constr type="h" for="ch" forName="connSite1" refType="h" fact="0.01"/>
                <dgm:constr type="t" for="ch" forName="connSite1"/>
                <dgm:constr type="l" for="ch" forName="connSite1" refType="w" fact="0.35"/>
              </dgm:constrLst>
            </dgm:if>
            <dgm:else name="Name7">
              <dgm:constrLst>
                <dgm:constr type="h" refType="w" fact="1.06"/>
                <dgm:constr type="w" for="ch" forName="dummyNode1" refType="w"/>
                <dgm:constr type="h" for="ch" forName="dummyNode1" refType="h"/>
                <dgm:constr type="t" for="ch" forName="dummyNode1"/>
                <dgm:constr type="l" for="ch" forName="dummyNode1"/>
                <dgm:constr type="w" for="ch" forName="childNode1" refType="w" fact="0.9"/>
                <dgm:constr type="h" for="ch" forName="childNode1" refType="h" fact="0.7"/>
                <dgm:constr type="t" for="ch" forName="childNode1" refType="h" fact="0.15"/>
                <dgm:constr type="l" for="ch" forName="childNode1" refType="w" fact="0.1"/>
                <dgm:constr type="w" for="ch" forName="childNode1tx" refType="w" fact="0.9"/>
                <dgm:constr type="h" for="ch" forName="childNode1tx" refType="h" fact="0.55"/>
                <dgm:constr type="t" for="ch" forName="childNode1tx" refType="h" fact="0.15"/>
                <dgm:constr type="l" for="ch" forName="childNode1tx" refType="w" fact="0.1"/>
                <dgm:constr type="w" for="ch" forName="parentNode1" refType="w" fact="0.8"/>
                <dgm:constr type="h" for="ch" forName="parentNode1" refType="h" fact="0.3"/>
                <dgm:constr type="t" for="ch" forName="parentNode1" refType="h" fact="0.7"/>
                <dgm:constr type="l" for="ch" forName="parentNode1"/>
                <dgm:constr type="w" for="ch" forName="connSite1" refType="w" fact="0.01"/>
                <dgm:constr type="h" for="ch" forName="connSite1" refType="h" fact="0.01"/>
                <dgm:constr type="t" for="ch" forName="connSite1"/>
                <dgm:constr type="l" for="ch" forName="connSite1" refType="w" fact="0.65"/>
              </dgm:constrLst>
            </dgm:else>
          </dgm:choose>
          <dgm:ruleLst/>
          <dgm:layoutNode name="dummyNode1">
            <dgm:alg type="sp"/>
            <dgm:shape xmlns:r="http://schemas.openxmlformats.org/officeDocument/2006/relationships" type="rect" r:blip="" hideGeom="1">
              <dgm:adjLst/>
            </dgm:shape>
            <dgm:presOf/>
            <dgm:constrLst/>
            <dgm:ruleLst/>
          </dgm:layoutNode>
          <dgm:layoutNode name="childNode1"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1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1" styleLbl="node1">
            <dgm:varLst>
              <dgm:chMax val="1"/>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1" moveWith="childNode1">
            <dgm:alg type="sp"/>
            <dgm:shape xmlns:r="http://schemas.openxmlformats.org/officeDocument/2006/relationships" r:blip="">
              <dgm:adjLst/>
            </dgm:shape>
            <dgm:presOf/>
            <dgm:constrLst/>
            <dgm:ruleLst/>
          </dgm:layoutNode>
        </dgm:layoutNode>
        <dgm:forEach name="Name8" axis="followSib" ptType="sibTrans" cnt="1">
          <dgm:layoutNode name="Name9">
            <dgm:alg type="conn">
              <dgm:param type="connRout" val="curve"/>
              <dgm:param type="srcNode" val="parentNode1"/>
              <dgm:param type="dstNode" val="connSite2"/>
              <dgm:param type="begPts" val="bCtr"/>
              <dgm:param type="endPts" val="bCtr"/>
            </dgm:alg>
            <dgm:shape xmlns:r="http://schemas.openxmlformats.org/officeDocument/2006/relationships" type="conn" r:blip="" zOrderOff="-2">
              <dgm:adjLst/>
            </dgm:shape>
            <dgm:presOf axis="self"/>
            <dgm:choose name="Name10">
              <dgm:if name="Name11" func="var" arg="dir" op="equ" val="norm">
                <dgm:constrLst>
                  <dgm:constr type="h" refType="w" fact="0.35"/>
                  <dgm:constr type="wArH" refType="h"/>
                  <dgm:constr type="hArH" refType="h"/>
                  <dgm:constr type="connDist"/>
                  <dgm:constr type="diam" refType="connDist" fact="-1.15"/>
                  <dgm:constr type="begPad"/>
                  <dgm:constr type="endPad"/>
                </dgm:constrLst>
              </dgm:if>
              <dgm:else name="Name12">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name="Name13" axis="followSib" ptType="node" cnt="1">
          <dgm:layoutNode name="composite2">
            <dgm:alg type="composite">
              <dgm:param type="ar" val="0.943"/>
            </dgm:alg>
            <dgm:shape xmlns:r="http://schemas.openxmlformats.org/officeDocument/2006/relationships" r:blip="">
              <dgm:adjLst/>
            </dgm:shape>
            <dgm:presOf/>
            <dgm:choose name="Name14">
              <dgm:if name="Name15" func="var" arg="dir" op="equ" val="norm">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dgm:constr type="w" for="ch" forName="childNode2tx" refType="w" fact="0.9"/>
                  <dgm:constr type="h" for="ch" forName="childNode2tx" refType="h" fact="0.55"/>
                  <dgm:constr type="t" for="ch" forName="childNode2tx" refType="h" fact="0.3"/>
                  <dgm:constr type="l" for="ch" forName="childNode2tx"/>
                  <dgm:constr type="w" for="ch" forName="parentNode2" refType="w" fact="0.8"/>
                  <dgm:constr type="h" for="ch" forName="parentNode2" refType="h" fact="0.3"/>
                  <dgm:constr type="t" for="ch" forName="parentNode2"/>
                  <dgm:constr type="l" for="ch" forName="parentNode2" refType="w" fact="0.2"/>
                  <dgm:constr type="w" for="ch" forName="connSite2" refType="w" fact="0.01"/>
                  <dgm:constr type="h" for="ch" forName="connSite2" refType="h" fact="0.01"/>
                  <dgm:constr type="t" for="ch" forName="connSite2" refType="h" fact="0.99"/>
                  <dgm:constr type="l" for="ch" forName="connSite2" refType="w" fact="0.25"/>
                </dgm:constrLst>
              </dgm:if>
              <dgm:else name="Name16">
                <dgm:constrLst>
                  <dgm:constr type="h" refType="w" fact="1.06"/>
                  <dgm:constr type="w" for="ch" forName="dummyNode2" refType="w"/>
                  <dgm:constr type="h" for="ch" forName="dummyNode2" refType="h"/>
                  <dgm:constr type="t" for="ch" forName="dummyNode2"/>
                  <dgm:constr type="l" for="ch" forName="dummyNode2"/>
                  <dgm:constr type="w" for="ch" forName="childNode2" refType="w" fact="0.9"/>
                  <dgm:constr type="h" for="ch" forName="childNode2" refType="h" fact="0.7"/>
                  <dgm:constr type="t" for="ch" forName="childNode2" refType="h" fact="0.15"/>
                  <dgm:constr type="l" for="ch" forName="childNode2" refType="w" fact="0.1"/>
                  <dgm:constr type="w" for="ch" forName="childNode2tx" refType="w" fact="0.9"/>
                  <dgm:constr type="h" for="ch" forName="childNode2tx" refType="h" fact="0.55"/>
                  <dgm:constr type="t" for="ch" forName="childNode2tx" refType="h" fact="0.3"/>
                  <dgm:constr type="l" for="ch" forName="childNode2tx" refType="w" fact="0.1"/>
                  <dgm:constr type="w" for="ch" forName="parentNode2" refType="w" fact="0.8"/>
                  <dgm:constr type="h" for="ch" forName="parentNode2" refType="h" fact="0.3"/>
                  <dgm:constr type="t" for="ch" forName="parentNode2"/>
                  <dgm:constr type="l" for="ch" forName="parentNode2"/>
                  <dgm:constr type="w" for="ch" forName="connSite2" refType="w" fact="0.01"/>
                  <dgm:constr type="h" for="ch" forName="connSite2" refType="h" fact="0.01"/>
                  <dgm:constr type="t" for="ch" forName="connSite2" refType="h" fact="0.99"/>
                  <dgm:constr type="l" for="ch" forName="connSite2" refType="w" fact="0.85"/>
                </dgm:constrLst>
              </dgm:else>
            </dgm:choose>
            <dgm:ruleLst/>
            <dgm:layoutNode name="dummyNode2">
              <dgm:alg type="sp"/>
              <dgm:shape xmlns:r="http://schemas.openxmlformats.org/officeDocument/2006/relationships" type="rect" r:blip="" hideGeom="1">
                <dgm:adjLst/>
              </dgm:shape>
              <dgm:presOf/>
              <dgm:constrLst/>
              <dgm:ruleLst/>
            </dgm:layoutNode>
            <dgm:layoutNode name="childNode2" styleLbl="bgAcc1">
              <dgm:varLst>
                <dgm:bulletEnabled val="1"/>
              </dgm:varLst>
              <dgm:alg type="sp"/>
              <dgm:shape xmlns:r="http://schemas.openxmlformats.org/officeDocument/2006/relationships" type="roundRect" r:blip="">
                <dgm:adjLst>
                  <dgm:adj idx="1" val="0.1"/>
                </dgm:adjLst>
              </dgm:shape>
              <dgm:presOf axis="des" ptType="node"/>
              <dgm:constrLst/>
              <dgm:ruleLst/>
            </dgm:layoutNode>
            <dgm:layoutNode name="childNode2tx" styleLbl="bgAcc1">
              <dgm:varLst>
                <dgm:bulletEnabled val="1"/>
              </dgm:varLst>
              <dgm:alg type="tx">
                <dgm:param type="stBulletLvl" val="1"/>
              </dgm:alg>
              <dgm:shape xmlns:r="http://schemas.openxmlformats.org/officeDocument/2006/relationships" type="roundRect" r:blip="" hideGeom="1">
                <dgm:adjLst>
                  <dgm:adj idx="1" val="0.1"/>
                </dgm:adjLst>
              </dgm:shape>
              <dgm:presOf axis="des" ptType="node"/>
              <dgm:constrLst>
                <dgm:constr type="secFontSz" val="65"/>
                <dgm:constr type="primFontSz" refType="secFontSz"/>
                <dgm:constr type="tMarg" refType="secFontSz" fact="0.15"/>
                <dgm:constr type="bMarg" refType="secFontSz" fact="0.15"/>
                <dgm:constr type="lMarg" refType="secFontSz" fact="0.15"/>
                <dgm:constr type="rMarg" refType="secFontSz" fact="0.15"/>
              </dgm:constrLst>
              <dgm:ruleLst>
                <dgm:rule type="secFontSz" val="5" fact="NaN" max="NaN"/>
              </dgm:ruleLst>
            </dgm:layoutNode>
            <dgm:layoutNode name="parentNode2" styleLbl="node1">
              <dgm:varLst>
                <dgm:chMax val="0"/>
                <dgm:bulletEnabled val="1"/>
              </dgm:varLst>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connSite2" moveWith="childNode2">
              <dgm:alg type="sp"/>
              <dgm:shape xmlns:r="http://schemas.openxmlformats.org/officeDocument/2006/relationships" r:blip="">
                <dgm:adjLst/>
              </dgm:shape>
              <dgm:presOf/>
              <dgm:constrLst/>
              <dgm:ruleLst/>
            </dgm:layoutNode>
          </dgm:layoutNode>
          <dgm:forEach name="Name17" axis="followSib" ptType="sibTrans" cnt="1">
            <dgm:layoutNode name="Name18">
              <dgm:alg type="conn">
                <dgm:param type="connRout" val="curve"/>
                <dgm:param type="srcNode" val="parentNode2"/>
                <dgm:param type="dstNode" val="connSite1"/>
                <dgm:param type="begPts" val="tCtr"/>
                <dgm:param type="endPts" val="tCtr"/>
              </dgm:alg>
              <dgm:shape xmlns:r="http://schemas.openxmlformats.org/officeDocument/2006/relationships" type="conn" r:blip="" zOrderOff="-2">
                <dgm:adjLst/>
              </dgm:shape>
              <dgm:presOf axis="self"/>
              <dgm:choose name="Name19">
                <dgm:if name="Name20" func="var" arg="dir" op="equ" val="norm">
                  <dgm:constrLst>
                    <dgm:constr type="h" refType="w" fact="0.35"/>
                    <dgm:constr type="wArH" refType="h"/>
                    <dgm:constr type="hArH" refType="h"/>
                    <dgm:constr type="connDist"/>
                    <dgm:constr type="diam" refType="connDist" fact="1.15"/>
                    <dgm:constr type="begPad"/>
                    <dgm:constr type="endPad"/>
                  </dgm:constrLst>
                </dgm:if>
                <dgm:else name="Name21">
                  <dgm:constrLst>
                    <dgm:constr type="h" refType="w" fact="0.35"/>
                    <dgm:constr type="wArH" refType="h"/>
                    <dgm:constr type="hArH" refType="h"/>
                    <dgm:constr type="connDist"/>
                    <dgm:constr type="diam" refType="connDist" fact="-1.15"/>
                    <dgm:constr type="begPad"/>
                    <dgm:constr type="endPad"/>
                  </dgm:constrLst>
                </dgm:else>
              </dgm:choose>
              <dgm:ruleLst/>
            </dgm:layoutNode>
          </dgm:forEach>
        </dgm:forEach>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List3">
  <dgm:title val=""/>
  <dgm:desc val=""/>
  <dgm:catLst>
    <dgm:cat type="list" pri="19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1" destId="2" srcOrd="0" destOrd="0"/>
        <dgm:cxn modelId="7" srcId="1" destId="3" srcOrd="1" destOrd="0"/>
        <dgm:cxn modelId="8" srcId="1" destId="4" srcOrd="2" destOrd="0"/>
      </dgm:cxnLst>
      <dgm:bg/>
      <dgm:whole/>
    </dgm:dataModel>
  </dgm:sampData>
  <dgm:styleData>
    <dgm:dataModel>
      <dgm:ptLst>
        <dgm:pt modelId="0" type="doc"/>
        <dgm:pt modelId="1"/>
        <dgm:pt modelId="2"/>
        <dgm:pt modelId="3"/>
      </dgm:ptLst>
      <dgm:cxnLst>
        <dgm:cxn modelId="5" srcId="0" destId="1" srcOrd="0" destOrd="0"/>
        <dgm:cxn modelId="6" srcId="1" destId="2" srcOrd="0" destOrd="0"/>
        <dgm:cxn modelId="7" srcId="1" destId="3" srcOrd="1" destOrd="0"/>
      </dgm:cxnLst>
      <dgm:bg/>
      <dgm:whole/>
    </dgm:dataModel>
  </dgm:styleData>
  <dgm:clrData>
    <dgm:dataModel>
      <dgm:ptLst>
        <dgm:pt modelId="0" type="doc"/>
        <dgm:pt modelId="1"/>
        <dgm:pt modelId="2"/>
        <dgm:pt modelId="3"/>
        <dgm:pt modelId="4"/>
        <dgm:pt modelId="5"/>
      </dgm:ptLst>
      <dgm:cxnLst>
        <dgm:cxn modelId="6" srcId="0" destId="1" srcOrd="0" destOrd="0"/>
        <dgm:cxn modelId="7" srcId="1" destId="2" srcOrd="0" destOrd="0"/>
        <dgm:cxn modelId="8" srcId="1" destId="3" srcOrd="1" destOrd="0"/>
        <dgm:cxn modelId="9" srcId="1" destId="4" srcOrd="2" destOrd="0"/>
        <dgm:cxn modelId="10" srcId="1" destId="5" srcOrd="3" destOrd="0"/>
      </dgm:cxnLst>
      <dgm:bg/>
      <dgm:whole/>
    </dgm:dataModel>
  </dgm:clrData>
  <dgm:layoutNode name="composite">
    <dgm:varLst>
      <dgm:chMax val="1"/>
      <dgm:dir/>
      <dgm:resizeHandles val="exact"/>
    </dgm:varLst>
    <dgm:alg type="composite"/>
    <dgm:shape xmlns:r="http://schemas.openxmlformats.org/officeDocument/2006/relationships" r:blip="">
      <dgm:adjLst/>
    </dgm:shape>
    <dgm:presOf/>
    <dgm:constrLst>
      <dgm:constr type="w" for="ch" forName="roof" refType="w"/>
      <dgm:constr type="h" for="ch" forName="roof" refType="h" fact="0.3"/>
      <dgm:constr type="primFontSz" for="ch" forName="roof" val="65"/>
      <dgm:constr type="w" for="ch" forName="pillars" refType="w"/>
      <dgm:constr type="h" for="ch" forName="pillars" refType="h" fact="0.63"/>
      <dgm:constr type="t" for="ch" forName="pillars" refType="h" fact="0.3"/>
      <dgm:constr type="primFontSz" for="des" forName="pillar1" val="65"/>
      <dgm:constr type="primFontSz" for="des" forName="pillarX" refType="primFontSz" refFor="des" refForName="pillar1" op="equ"/>
      <dgm:constr type="w" for="ch" forName="base" refType="w"/>
      <dgm:constr type="h" for="ch" forName="base" refType="h" fact="0.07"/>
      <dgm:constr type="t" for="ch" forName="base" refType="h" fact="0.93"/>
    </dgm:constrLst>
    <dgm:ruleLst/>
    <dgm:forEach name="Name0" axis="ch" ptType="node" cnt="1">
      <dgm:layoutNode name="roof" styleLbl="dkBgShp">
        <dgm:alg type="tx"/>
        <dgm:shape xmlns:r="http://schemas.openxmlformats.org/officeDocument/2006/relationships" type="rect" r:blip="">
          <dgm:adjLst/>
        </dgm:shape>
        <dgm:presOf axis="self"/>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illars" styleLbl="node1">
        <dgm:choose name="Name1">
          <dgm:if name="Name2" func="var" arg="dir" op="equ" val="norm">
            <dgm:alg type="lin">
              <dgm:param type="linDir" val="fromL"/>
            </dgm:alg>
          </dgm:if>
          <dgm:else name="Name3">
            <dgm:alg type="lin">
              <dgm:param type="linDir" val="fromR"/>
            </dgm:alg>
          </dgm:else>
        </dgm:choose>
        <dgm:shape xmlns:r="http://schemas.openxmlformats.org/officeDocument/2006/relationships" r:blip="">
          <dgm:adjLst/>
        </dgm:shape>
        <dgm:presOf/>
        <dgm:constrLst>
          <dgm:constr type="w" for="ch" forName="pillar1" refType="w"/>
          <dgm:constr type="h" for="ch" forName="pillar1" refType="h"/>
          <dgm:constr type="w" for="ch" forName="pillarX" refType="w"/>
          <dgm:constr type="h" for="ch" forName="pillarX" refType="h"/>
        </dgm:constrLst>
        <dgm:ruleLst/>
        <dgm:layoutNode name="pillar1" styleLbl="node1">
          <dgm:varLst>
            <dgm:bulletEnabled val="1"/>
          </dgm:varLst>
          <dgm:alg type="tx"/>
          <dgm:shape xmlns:r="http://schemas.openxmlformats.org/officeDocument/2006/relationships" type="rect" r:blip="">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ch" ptType="node" st="2">
          <dgm:layoutNode name="pillarX" styleLbl="node1">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dgm:layoutNode>
      <dgm:layoutNode name="base" styleLbl="dkBgShp">
        <dgm:alg type="sp"/>
        <dgm:shape xmlns:r="http://schemas.openxmlformats.org/officeDocument/2006/relationships" type="rect" r:blip="">
          <dgm:adjLst/>
        </dgm:shape>
        <dgm:presOf/>
        <dgm:constrLst/>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3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0.emf"/></Relationships>
</file>

<file path=ppt/drawings/drawing1.xml><?xml version="1.0" encoding="utf-8"?>
<c:userShapes xmlns:c="http://schemas.openxmlformats.org/drawingml/2006/chart">
  <cdr:relSizeAnchor xmlns:cdr="http://schemas.openxmlformats.org/drawingml/2006/chartDrawing">
    <cdr:from>
      <cdr:x>0.0526</cdr:x>
      <cdr:y>0.59761</cdr:y>
    </cdr:from>
    <cdr:to>
      <cdr:x>0.986</cdr:x>
      <cdr:y>0.60655</cdr:y>
    </cdr:to>
    <cdr:cxnSp macro="">
      <cdr:nvCxnSpPr>
        <cdr:cNvPr id="3" name="Straight Connector 2">
          <a:extLst xmlns:a="http://schemas.openxmlformats.org/drawingml/2006/main">
            <a:ext uri="{FF2B5EF4-FFF2-40B4-BE49-F238E27FC236}">
              <a16:creationId xmlns:a16="http://schemas.microsoft.com/office/drawing/2014/main" id="{1B90EC48-5AE9-23F4-28D6-339F91D0CB23}"/>
            </a:ext>
          </a:extLst>
        </cdr:cNvPr>
        <cdr:cNvCxnSpPr/>
      </cdr:nvCxnSpPr>
      <cdr:spPr>
        <a:xfrm xmlns:a="http://schemas.openxmlformats.org/drawingml/2006/main" flipV="1">
          <a:off x="572605" y="2956695"/>
          <a:ext cx="10161639" cy="44245"/>
        </a:xfrm>
        <a:prstGeom xmlns:a="http://schemas.openxmlformats.org/drawingml/2006/main" prst="line">
          <a:avLst/>
        </a:prstGeom>
        <a:ln xmlns:a="http://schemas.openxmlformats.org/drawingml/2006/main" w="38100">
          <a:solidFill>
            <a:schemeClr val="accent4"/>
          </a:solidFill>
          <a:prstDash val="dash"/>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6E7A80B-3D03-4EA0-9465-0DF0A9D99042}" type="datetimeFigureOut">
              <a:rPr lang="en-US" smtClean="0"/>
              <a:t>2/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8B47C4E-2555-48D5-B810-2EFF142F540E}" type="slidenum">
              <a:rPr lang="en-US" smtClean="0"/>
              <a:t>‹#›</a:t>
            </a:fld>
            <a:endParaRPr lang="en-US"/>
          </a:p>
        </p:txBody>
      </p:sp>
    </p:spTree>
    <p:extLst>
      <p:ext uri="{BB962C8B-B14F-4D97-AF65-F5344CB8AC3E}">
        <p14:creationId xmlns:p14="http://schemas.microsoft.com/office/powerpoint/2010/main" val="3274649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cs typeface="Calibri"/>
            </a:endParaRPr>
          </a:p>
        </p:txBody>
      </p:sp>
      <p:sp>
        <p:nvSpPr>
          <p:cNvPr id="4" name="Slide Number Placeholder 3"/>
          <p:cNvSpPr>
            <a:spLocks noGrp="1"/>
          </p:cNvSpPr>
          <p:nvPr>
            <p:ph type="sldNum" sz="quarter" idx="5"/>
          </p:nvPr>
        </p:nvSpPr>
        <p:spPr/>
        <p:txBody>
          <a:bodyPr/>
          <a:lstStyle/>
          <a:p>
            <a:fld id="{0DE9A467-59E5-45DD-85A6-66A06ABAB50F}" type="slidenum">
              <a:rPr lang="en-US" smtClean="0"/>
              <a:t>7</a:t>
            </a:fld>
            <a:endParaRPr lang="en-US"/>
          </a:p>
        </p:txBody>
      </p:sp>
    </p:spTree>
    <p:extLst>
      <p:ext uri="{BB962C8B-B14F-4D97-AF65-F5344CB8AC3E}">
        <p14:creationId xmlns:p14="http://schemas.microsoft.com/office/powerpoint/2010/main" val="30888689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1</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17330387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Focus</a:t>
            </a:r>
            <a:r>
              <a:rPr lang="en-US" baseline="0"/>
              <a:t> for today</a:t>
            </a: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2</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3238641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5</a:t>
            </a:fld>
            <a:endParaRPr lang="en-US"/>
          </a:p>
        </p:txBody>
      </p:sp>
    </p:spTree>
    <p:extLst>
      <p:ext uri="{BB962C8B-B14F-4D97-AF65-F5344CB8AC3E}">
        <p14:creationId xmlns:p14="http://schemas.microsoft.com/office/powerpoint/2010/main" val="393914010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t>Making progress this  year to reduce NTSV C/S disparity gap, but will need to be sustained!</a:t>
            </a:r>
          </a:p>
          <a:p>
            <a:endParaRPr lang="en-US">
              <a:cs typeface="Calibri"/>
            </a:endParaRPr>
          </a:p>
        </p:txBody>
      </p:sp>
      <p:sp>
        <p:nvSpPr>
          <p:cNvPr id="4" name="Slide Number Placeholder 3"/>
          <p:cNvSpPr>
            <a:spLocks noGrp="1"/>
          </p:cNvSpPr>
          <p:nvPr>
            <p:ph type="sldNum" sz="quarter" idx="5"/>
          </p:nvPr>
        </p:nvSpPr>
        <p:spPr/>
        <p:txBody>
          <a:bodyPr/>
          <a:lstStyle/>
          <a:p>
            <a:fld id="{B34269AA-627C-42DE-BD87-07E9A748A053}" type="slidenum">
              <a:rPr lang="en-US" smtClean="0"/>
              <a:t>26</a:t>
            </a:fld>
            <a:endParaRPr lang="en-US"/>
          </a:p>
        </p:txBody>
      </p:sp>
    </p:spTree>
    <p:extLst>
      <p:ext uri="{BB962C8B-B14F-4D97-AF65-F5344CB8AC3E}">
        <p14:creationId xmlns:p14="http://schemas.microsoft.com/office/powerpoint/2010/main" val="15189339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cs typeface="Calibri"/>
              </a:rPr>
              <a:t>Add percentages  in</a:t>
            </a:r>
          </a:p>
        </p:txBody>
      </p:sp>
      <p:sp>
        <p:nvSpPr>
          <p:cNvPr id="4" name="Slide Number Placeholder 3"/>
          <p:cNvSpPr>
            <a:spLocks noGrp="1"/>
          </p:cNvSpPr>
          <p:nvPr>
            <p:ph type="sldNum" sz="quarter" idx="5"/>
          </p:nvPr>
        </p:nvSpPr>
        <p:spPr/>
        <p:txBody>
          <a:bodyPr/>
          <a:lstStyle/>
          <a:p>
            <a:fld id="{B34269AA-627C-42DE-BD87-07E9A748A053}" type="slidenum">
              <a:rPr lang="en-US" smtClean="0"/>
              <a:t>27</a:t>
            </a:fld>
            <a:endParaRPr lang="en-US"/>
          </a:p>
        </p:txBody>
      </p:sp>
    </p:spTree>
    <p:extLst>
      <p:ext uri="{BB962C8B-B14F-4D97-AF65-F5344CB8AC3E}">
        <p14:creationId xmlns:p14="http://schemas.microsoft.com/office/powerpoint/2010/main" val="153861241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0955060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48B47C4E-2555-48D5-B810-2EFF142F540E}" type="slidenum">
              <a:rPr lang="en-US" smtClean="0"/>
              <a:t>29</a:t>
            </a:fld>
            <a:endParaRPr lang="en-US"/>
          </a:p>
        </p:txBody>
      </p:sp>
    </p:spTree>
    <p:extLst>
      <p:ext uri="{BB962C8B-B14F-4D97-AF65-F5344CB8AC3E}">
        <p14:creationId xmlns:p14="http://schemas.microsoft.com/office/powerpoint/2010/main" val="13947576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8BD2D14-F0AA-2844-871F-19DB90E8035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5839022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54647253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329522409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Rot="1" noChangeAspect="1" noChangeArrowheads="1" noTextEdit="1"/>
          </p:cNvSpPr>
          <p:nvPr>
            <p:ph type="sldImg"/>
          </p:nvPr>
        </p:nvSpPr>
        <p:spPr>
          <a:ln/>
        </p:spPr>
      </p:sp>
      <p:sp>
        <p:nvSpPr>
          <p:cNvPr id="4099"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extLst>
      <p:ext uri="{BB962C8B-B14F-4D97-AF65-F5344CB8AC3E}">
        <p14:creationId xmlns:p14="http://schemas.microsoft.com/office/powerpoint/2010/main" val="130199697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B6540EB-5334-4296-967C-10B4D905E33B}" type="slidenum">
              <a:rPr lang="en-US" smtClean="0"/>
              <a:t>15</a:t>
            </a:fld>
            <a:endParaRPr lang="en-US"/>
          </a:p>
        </p:txBody>
      </p:sp>
    </p:spTree>
    <p:extLst>
      <p:ext uri="{BB962C8B-B14F-4D97-AF65-F5344CB8AC3E}">
        <p14:creationId xmlns:p14="http://schemas.microsoft.com/office/powerpoint/2010/main" val="394022900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1D98C9C-57D0-47E2-BD68-0A8BE9AB548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3493093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8</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8828805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19</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347159216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799399BA-D265-4DD5-B172-CF7BBEF04538}" type="slidenum">
              <a:rPr kumimoji="0" lang="en-US" altLang="en-US" sz="1200" b="0" i="0" u="none" strike="noStrike" kern="1200" cap="none" spc="0" normalizeH="0" baseline="0" noProof="0" smtClean="0">
                <a:ln>
                  <a:noFill/>
                </a:ln>
                <a:solidFill>
                  <a:prstClr val="black"/>
                </a:solidFill>
                <a:effectLst/>
                <a:uLnTx/>
                <a:uFillTx/>
                <a:latin typeface="Calibri" pitchFamily="34" charset="0"/>
                <a:ea typeface="MS PGothic" pitchFamily="34" charset="-128"/>
                <a:cs typeface="+mn-cs"/>
              </a:rPr>
              <a:pPr marL="0" marR="0" lvl="0" indent="0" algn="r" defTabSz="914400" rtl="0" eaLnBrk="1" fontAlgn="base" latinLnBrk="0" hangingPunct="1">
                <a:lnSpc>
                  <a:spcPct val="100000"/>
                </a:lnSpc>
                <a:spcBef>
                  <a:spcPct val="0"/>
                </a:spcBef>
                <a:spcAft>
                  <a:spcPct val="0"/>
                </a:spcAft>
                <a:buClrTx/>
                <a:buSzTx/>
                <a:buFontTx/>
                <a:buNone/>
                <a:tabLst/>
                <a:defRPr/>
              </a:pPr>
              <a:t>20</a:t>
            </a:fld>
            <a:endParaRPr kumimoji="0" lang="en-US" altLang="en-US" sz="1200" b="0" i="0" u="none" strike="noStrike" kern="1200" cap="none" spc="0" normalizeH="0" baseline="0" noProof="0">
              <a:ln>
                <a:noFill/>
              </a:ln>
              <a:solidFill>
                <a:prstClr val="black"/>
              </a:solidFill>
              <a:effectLst/>
              <a:uLnTx/>
              <a:uFillTx/>
              <a:latin typeface="Calibri" pitchFamily="34" charset="0"/>
              <a:ea typeface="MS PGothic" pitchFamily="34" charset="-128"/>
              <a:cs typeface="+mn-cs"/>
            </a:endParaRPr>
          </a:p>
        </p:txBody>
      </p:sp>
    </p:spTree>
    <p:extLst>
      <p:ext uri="{BB962C8B-B14F-4D97-AF65-F5344CB8AC3E}">
        <p14:creationId xmlns:p14="http://schemas.microsoft.com/office/powerpoint/2010/main" val="284469320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4.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8.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1.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1.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12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Master" Target="../slideMasters/slideMaster1.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2.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9.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161.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3.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167.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1.emf"/><Relationship Id="rId5" Type="http://schemas.openxmlformats.org/officeDocument/2006/relationships/image" Target="../media/image30.emf"/><Relationship Id="rId4" Type="http://schemas.openxmlformats.org/officeDocument/2006/relationships/oleObject" Target="../embeddings/oleObject1.bin"/></Relationships>
</file>

<file path=ppt/slideLayouts/_rels/slideLayout168.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tags" Target="../tags/tag3.xml"/><Relationship Id="rId7" Type="http://schemas.openxmlformats.org/officeDocument/2006/relationships/oleObject" Target="../embeddings/oleObject3.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30.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12.sv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0.png"/><Relationship Id="rId1" Type="http://schemas.openxmlformats.org/officeDocument/2006/relationships/slideMaster" Target="../slideMasters/slideMaster1.xml"/><Relationship Id="rId4" Type="http://schemas.openxmlformats.org/officeDocument/2006/relationships/image" Target="../media/image5.svg"/></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42910766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9814876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72630080"/>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19567606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obj" preserve="1">
  <p:cSld name="3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342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271783772"/>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 preserve="1">
  <p:cSld name="1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6108123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B5EF7A9-934F-4AEF-9B1F-6C2A2A939180}"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6ACA920-F5E0-407F-80F6-F6490A51C589}" type="slidenum">
              <a:rPr lang="en-US" smtClean="0"/>
              <a:t>‹#›</a:t>
            </a:fld>
            <a:endParaRPr lang="en-US"/>
          </a:p>
        </p:txBody>
      </p:sp>
    </p:spTree>
    <p:extLst>
      <p:ext uri="{BB962C8B-B14F-4D97-AF65-F5344CB8AC3E}">
        <p14:creationId xmlns:p14="http://schemas.microsoft.com/office/powerpoint/2010/main" val="2736686779"/>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1629644005"/>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54653218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graphicFrame>
        <p:nvGraphicFramePr>
          <p:cNvPr id="6" name="Object 7" hidden="1"/>
          <p:cNvGraphicFramePr>
            <a:graphicFrameLocks noChangeAspect="1"/>
          </p:cNvGraphicFramePr>
          <p:nvPr userDrawn="1">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1027" name="think-cell Slide" r:id="rId4" imgW="360" imgH="360" progId="TCLayout.ActiveDocument.1">
                  <p:embed/>
                </p:oleObj>
              </mc:Choice>
              <mc:Fallback>
                <p:oleObj name="think-cell Slide" r:id="rId4" imgW="360" imgH="360" progId="TCLayout.ActiveDocument.1">
                  <p:embed/>
                  <p:pic>
                    <p:nvPicPr>
                      <p:cNvPr id="6"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21166" y="6629400"/>
            <a:ext cx="12213167" cy="228600"/>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pic>
        <p:nvPicPr>
          <p:cNvPr id="8" name="Picture 13"/>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7945967" y="408518"/>
            <a:ext cx="3706284" cy="18139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9" name="Group 11"/>
          <p:cNvGrpSpPr>
            <a:grpSpLocks/>
          </p:cNvGrpSpPr>
          <p:nvPr userDrawn="1"/>
        </p:nvGrpSpPr>
        <p:grpSpPr bwMode="auto">
          <a:xfrm>
            <a:off x="0" y="0"/>
            <a:ext cx="1862667" cy="6629400"/>
            <a:chOff x="-15876" y="0"/>
            <a:chExt cx="1927803" cy="6858000"/>
          </a:xfrm>
        </p:grpSpPr>
        <p:sp>
          <p:nvSpPr>
            <p:cNvPr id="10" name="Rectangle 9"/>
            <p:cNvSpPr/>
            <p:nvPr userDrawn="1"/>
          </p:nvSpPr>
          <p:spPr>
            <a:xfrm>
              <a:off x="-15876" y="0"/>
              <a:ext cx="1844557" cy="6858000"/>
            </a:xfrm>
            <a:prstGeom prst="rect">
              <a:avLst/>
            </a:prstGeom>
            <a:solidFill>
              <a:srgbClr val="800000"/>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defRPr/>
              </a:pPr>
              <a:endParaRPr lang="en-US" sz="2400"/>
            </a:p>
          </p:txBody>
        </p:sp>
        <p:pic>
          <p:nvPicPr>
            <p:cNvPr id="11" name="Picture 7"/>
            <p:cNvPicPr>
              <a:picLocks noChangeAspect="1"/>
            </p:cNvPicPr>
            <p:nvPr userDrawn="1"/>
          </p:nvPicPr>
          <p:blipFill>
            <a:blip r:embed="rId7">
              <a:extLst>
                <a:ext uri="{28A0092B-C50C-407E-A947-70E740481C1C}">
                  <a14:useLocalDpi xmlns:a14="http://schemas.microsoft.com/office/drawing/2010/main" val="0"/>
                </a:ext>
              </a:extLst>
            </a:blip>
            <a:srcRect l="7219" t="16937" r="72250" b="20589"/>
            <a:stretch>
              <a:fillRect/>
            </a:stretch>
          </p:blipFill>
          <p:spPr bwMode="auto">
            <a:xfrm>
              <a:off x="-15876" y="0"/>
              <a:ext cx="1927803"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9" name="Subtitle 2"/>
          <p:cNvSpPr>
            <a:spLocks noGrp="1"/>
          </p:cNvSpPr>
          <p:nvPr>
            <p:ph type="subTitle" idx="1"/>
          </p:nvPr>
        </p:nvSpPr>
        <p:spPr>
          <a:xfrm>
            <a:off x="3147489" y="4195763"/>
            <a:ext cx="5488516" cy="365760"/>
          </a:xfrm>
          <a:prstGeom prst="rect">
            <a:avLst/>
          </a:prstGeom>
        </p:spPr>
        <p:txBody>
          <a:bodyPr/>
          <a:lstStyle>
            <a:lvl1pPr>
              <a:defRPr sz="1867"/>
            </a:lvl1pPr>
          </a:lstStyle>
          <a:p>
            <a:r>
              <a:rPr lang="en-US" altLang="en-US"/>
              <a:t>Click to edit Master subtitle style</a:t>
            </a:r>
          </a:p>
        </p:txBody>
      </p:sp>
      <p:sp>
        <p:nvSpPr>
          <p:cNvPr id="30" name="Title 1"/>
          <p:cNvSpPr>
            <a:spLocks noGrp="1"/>
          </p:cNvSpPr>
          <p:nvPr>
            <p:ph type="ctrTitle"/>
          </p:nvPr>
        </p:nvSpPr>
        <p:spPr>
          <a:xfrm>
            <a:off x="1621872" y="1806429"/>
            <a:ext cx="10189827" cy="2278211"/>
          </a:xfrm>
        </p:spPr>
        <p:txBody>
          <a:bodyPr anchor="b"/>
          <a:lstStyle>
            <a:lvl1pPr marL="0" indent="0">
              <a:defRPr sz="5333">
                <a:solidFill>
                  <a:schemeClr val="tx2"/>
                </a:solidFill>
                <a:latin typeface="+mn-lt"/>
              </a:defRPr>
            </a:lvl1pPr>
          </a:lstStyle>
          <a:p>
            <a:r>
              <a:rPr lang="en-US"/>
              <a:t>Click to edit Master title style</a:t>
            </a:r>
          </a:p>
        </p:txBody>
      </p:sp>
      <p:sp>
        <p:nvSpPr>
          <p:cNvPr id="31" name="Text Placeholder 3"/>
          <p:cNvSpPr>
            <a:spLocks noGrp="1"/>
          </p:cNvSpPr>
          <p:nvPr>
            <p:ph type="body" sz="quarter" idx="10"/>
          </p:nvPr>
        </p:nvSpPr>
        <p:spPr>
          <a:xfrm>
            <a:off x="3147484" y="4600575"/>
            <a:ext cx="5486400" cy="365760"/>
          </a:xfrm>
          <a:prstGeom prst="rect">
            <a:avLst/>
          </a:prstGeom>
        </p:spPr>
        <p:txBody>
          <a:bodyPr/>
          <a:lstStyle>
            <a:lvl1pPr>
              <a:defRPr sz="1867"/>
            </a:lvl1pPr>
          </a:lstStyle>
          <a:p>
            <a:pPr lvl="0"/>
            <a:r>
              <a:rPr lang="en-US"/>
              <a:t>Edit Master text styles</a:t>
            </a:r>
          </a:p>
        </p:txBody>
      </p:sp>
      <p:sp>
        <p:nvSpPr>
          <p:cNvPr id="32" name="Text Placeholder 4"/>
          <p:cNvSpPr>
            <a:spLocks noGrp="1"/>
          </p:cNvSpPr>
          <p:nvPr>
            <p:ph type="body" sz="quarter" idx="11"/>
          </p:nvPr>
        </p:nvSpPr>
        <p:spPr>
          <a:xfrm>
            <a:off x="3147484" y="5005387"/>
            <a:ext cx="5486400" cy="365760"/>
          </a:xfrm>
          <a:prstGeom prst="rect">
            <a:avLst/>
          </a:prstGeom>
        </p:spPr>
        <p:txBody>
          <a:bodyPr/>
          <a:lstStyle>
            <a:lvl1pPr>
              <a:defRPr sz="1867"/>
            </a:lvl1pPr>
          </a:lstStyle>
          <a:p>
            <a:pPr lvl="0"/>
            <a:r>
              <a:rPr lang="en-US"/>
              <a:t>Edit Master text styles</a:t>
            </a:r>
          </a:p>
        </p:txBody>
      </p:sp>
    </p:spTree>
    <p:extLst>
      <p:ext uri="{BB962C8B-B14F-4D97-AF65-F5344CB8AC3E}">
        <p14:creationId xmlns:p14="http://schemas.microsoft.com/office/powerpoint/2010/main" val="1993753234"/>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userDrawn="1">
  <p:cSld name="Table of Content">
    <p:spTree>
      <p:nvGrpSpPr>
        <p:cNvPr id="1" name=""/>
        <p:cNvGrpSpPr/>
        <p:nvPr/>
      </p:nvGrpSpPr>
      <p:grpSpPr>
        <a:xfrm>
          <a:off x="0" y="0"/>
          <a:ext cx="0" cy="0"/>
          <a:chOff x="0" y="0"/>
          <a:chExt cx="0" cy="0"/>
        </a:xfrm>
      </p:grpSpPr>
      <p:graphicFrame>
        <p:nvGraphicFramePr>
          <p:cNvPr id="6" name="Object 2" hidden="1"/>
          <p:cNvGraphicFramePr>
            <a:graphicFrameLocks noChangeAspect="1"/>
          </p:cNvGraphicFramePr>
          <p:nvPr>
            <p:custDataLst>
              <p:tags r:id="rId2"/>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2" name="think-cell Slide" r:id="rId5" imgW="360" imgH="360" progId="TCLayout.ActiveDocument.1">
                  <p:embed/>
                </p:oleObj>
              </mc:Choice>
              <mc:Fallback>
                <p:oleObj name="think-cell Slide" r:id="rId5" imgW="360" imgH="360" progId="TCLayout.ActiveDocument.1">
                  <p:embed/>
                  <p:pic>
                    <p:nvPicPr>
                      <p:cNvPr id="6" name="Object 2"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p:nvSpPr>
        <p:spPr>
          <a:xfrm>
            <a:off x="-10584" y="6620933"/>
            <a:ext cx="12213168" cy="237067"/>
          </a:xfrm>
          <a:prstGeom prst="rect">
            <a:avLst/>
          </a:prstGeom>
          <a:solidFill>
            <a:srgbClr val="767676"/>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2400"/>
          </a:p>
        </p:txBody>
      </p:sp>
      <p:graphicFrame>
        <p:nvGraphicFramePr>
          <p:cNvPr id="10" name="Object 7" hidden="1"/>
          <p:cNvGraphicFramePr>
            <a:graphicFrameLocks noChangeAspect="1"/>
          </p:cNvGraphicFramePr>
          <p:nvPr userDrawn="1">
            <p:custDataLst>
              <p:tags r:id="rId3"/>
            </p:custDataLst>
          </p:nvPr>
        </p:nvGraphicFramePr>
        <p:xfrm>
          <a:off x="2118" y="2118"/>
          <a:ext cx="2116" cy="2116"/>
        </p:xfrm>
        <a:graphic>
          <a:graphicData uri="http://schemas.openxmlformats.org/presentationml/2006/ole">
            <mc:AlternateContent xmlns:mc="http://schemas.openxmlformats.org/markup-compatibility/2006">
              <mc:Choice xmlns:v="urn:schemas-microsoft-com:vml" Requires="v">
                <p:oleObj spid="_x0000_s2053" name="think-cell Slide" r:id="rId7" imgW="360" imgH="360" progId="TCLayout.ActiveDocument.1">
                  <p:embed/>
                </p:oleObj>
              </mc:Choice>
              <mc:Fallback>
                <p:oleObj name="think-cell Slide" r:id="rId7" imgW="360" imgH="360" progId="TCLayout.ActiveDocument.1">
                  <p:embed/>
                  <p:pic>
                    <p:nvPicPr>
                      <p:cNvPr id="10"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18" y="2118"/>
                        <a:ext cx="2116" cy="21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 name="Title 1"/>
          <p:cNvSpPr>
            <a:spLocks noGrp="1"/>
          </p:cNvSpPr>
          <p:nvPr>
            <p:ph type="title"/>
          </p:nvPr>
        </p:nvSpPr>
        <p:spPr>
          <a:xfrm>
            <a:off x="218114" y="224840"/>
            <a:ext cx="11715725" cy="569325"/>
          </a:xfrm>
        </p:spPr>
        <p:txBody>
          <a:bodyPr/>
          <a:lstStyle>
            <a:lvl1pPr>
              <a:defRPr sz="2933">
                <a:solidFill>
                  <a:schemeClr val="tx2"/>
                </a:solidFill>
              </a:defRPr>
            </a:lvl1pPr>
          </a:lstStyle>
          <a:p>
            <a:r>
              <a:rPr lang="en-US"/>
              <a:t>Click to edit Master title style</a:t>
            </a:r>
          </a:p>
        </p:txBody>
      </p:sp>
      <p:sp>
        <p:nvSpPr>
          <p:cNvPr id="5" name="Content Placeholder 2"/>
          <p:cNvSpPr>
            <a:spLocks noGrp="1"/>
          </p:cNvSpPr>
          <p:nvPr>
            <p:ph idx="1"/>
          </p:nvPr>
        </p:nvSpPr>
        <p:spPr>
          <a:xfrm>
            <a:off x="218114" y="917197"/>
            <a:ext cx="11715725" cy="4958671"/>
          </a:xfrm>
          <a:prstGeom prst="rect">
            <a:avLst/>
          </a:prstGeom>
        </p:spPr>
        <p:txBody>
          <a:bodyPr/>
          <a:lstStyle>
            <a:lvl1pPr marL="380990" indent="-380990">
              <a:buFont typeface="Wingdings" panose="05000000000000000000" pitchFamily="2" charset="2"/>
              <a:buChar char="§"/>
              <a:defRPr sz="1867" b="1"/>
            </a:lvl1pPr>
            <a:lvl2pPr marL="609585" indent="-296326">
              <a:buFont typeface="Arial" panose="020B0604020202020204" pitchFamily="34" charset="0"/>
              <a:buChar char="̶"/>
              <a:defRPr sz="1867"/>
            </a:lvl2pPr>
            <a:lvl3pPr marL="922844" indent="-313259">
              <a:buFont typeface="Arial" panose="020B0604020202020204" pitchFamily="34" charset="0"/>
              <a:buChar char="•"/>
              <a:defRPr sz="1867"/>
            </a:lvl3pPr>
            <a:lvl4pPr marL="1219170" indent="-296326">
              <a:buFont typeface="Wingdings" panose="05000000000000000000" pitchFamily="2" charset="2"/>
              <a:buChar char="ü"/>
              <a:defRPr sz="1867"/>
            </a:lvl4pPr>
            <a:lvl5pPr marL="1532428" indent="-313259">
              <a:defRPr sz="1867"/>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ext Placeholder 6"/>
          <p:cNvSpPr>
            <a:spLocks noGrp="1"/>
          </p:cNvSpPr>
          <p:nvPr>
            <p:ph type="body" sz="quarter" idx="10"/>
          </p:nvPr>
        </p:nvSpPr>
        <p:spPr>
          <a:xfrm>
            <a:off x="3858937" y="5969001"/>
            <a:ext cx="8074903" cy="649817"/>
          </a:xfrm>
          <a:prstGeom prst="rect">
            <a:avLst/>
          </a:prstGeom>
        </p:spPr>
        <p:txBody>
          <a:bodyPr anchor="b"/>
          <a:lstStyle>
            <a:lvl1pPr>
              <a:defRPr sz="1333" b="0" baseline="0"/>
            </a:lvl1pPr>
          </a:lstStyle>
          <a:p>
            <a:pPr lvl="0"/>
            <a:r>
              <a:rPr lang="en-US"/>
              <a:t>Edit Master text styles</a:t>
            </a:r>
          </a:p>
        </p:txBody>
      </p:sp>
      <p:sp>
        <p:nvSpPr>
          <p:cNvPr id="11" name="Slide Number Placeholder 3"/>
          <p:cNvSpPr>
            <a:spLocks noGrp="1"/>
          </p:cNvSpPr>
          <p:nvPr>
            <p:ph type="sldNum" sz="quarter" idx="11"/>
          </p:nvPr>
        </p:nvSpPr>
        <p:spPr/>
        <p:txBody>
          <a:bodyPr/>
          <a:lstStyle>
            <a:lvl1pPr algn="r">
              <a:defRPr sz="1467">
                <a:solidFill>
                  <a:schemeClr val="bg1"/>
                </a:solidFill>
                <a:latin typeface="+mn-lt"/>
              </a:defRPr>
            </a:lvl1pPr>
          </a:lstStyle>
          <a:p>
            <a:pPr>
              <a:defRPr/>
            </a:pPr>
            <a:fld id="{D9E38BE4-73A9-4CBE-849B-DA886A199DD2}" type="slidenum">
              <a:rPr lang="en-US"/>
              <a:pPr>
                <a:defRPr/>
              </a:pPr>
              <a:t>‹#›</a:t>
            </a:fld>
            <a:endParaRPr lang="en-US"/>
          </a:p>
        </p:txBody>
      </p:sp>
      <p:pic>
        <p:nvPicPr>
          <p:cNvPr id="12" name="Picture 3" descr="M:\Marketing Communication and Referral Access\Luis\newbrand\UCM_logo\master\horizontal\UCM_Logo_Master_Brand_Horizontal_Tagline_rgb.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101601" y="5969000"/>
            <a:ext cx="3704343" cy="65193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30479694"/>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3_Title Slide_Yale Blue">
    <p:spTree>
      <p:nvGrpSpPr>
        <p:cNvPr id="1" name=""/>
        <p:cNvGrpSpPr/>
        <p:nvPr/>
      </p:nvGrpSpPr>
      <p:grpSpPr>
        <a:xfrm>
          <a:off x="0" y="0"/>
          <a:ext cx="0" cy="0"/>
          <a:chOff x="0" y="0"/>
          <a:chExt cx="0" cy="0"/>
        </a:xfrm>
      </p:grpSpPr>
      <p:sp>
        <p:nvSpPr>
          <p:cNvPr id="11" name="Text Placeholder 10"/>
          <p:cNvSpPr>
            <a:spLocks noGrp="1"/>
          </p:cNvSpPr>
          <p:nvPr>
            <p:ph type="body" sz="quarter" idx="15" hasCustomPrompt="1"/>
          </p:nvPr>
        </p:nvSpPr>
        <p:spPr>
          <a:xfrm>
            <a:off x="2826555" y="5400857"/>
            <a:ext cx="8178613" cy="381643"/>
          </a:xfrm>
          <a:prstGeom prst="rect">
            <a:avLst/>
          </a:prstGeom>
        </p:spPr>
        <p:txBody>
          <a:bodyPr wrap="square">
            <a:spAutoFit/>
          </a:bodyPr>
          <a:lstStyle>
            <a:lvl1pPr marL="0" indent="0" algn="r">
              <a:buNone/>
              <a:defRPr sz="1867" baseline="0">
                <a:solidFill>
                  <a:srgbClr val="616364"/>
                </a:solidFill>
                <a:latin typeface="Verdana" charset="0"/>
                <a:ea typeface="Verdana" charset="0"/>
                <a:cs typeface="Verdana" charset="0"/>
              </a:defRPr>
            </a:lvl1pPr>
          </a:lstStyle>
          <a:p>
            <a:pPr lvl="0"/>
            <a:r>
              <a:rPr lang="en-US"/>
              <a:t>Date | Presenter Information (14 </a:t>
            </a:r>
            <a:r>
              <a:rPr lang="en-US" err="1"/>
              <a:t>pt</a:t>
            </a:r>
            <a:r>
              <a:rPr lang="en-US"/>
              <a:t>)</a:t>
            </a:r>
          </a:p>
        </p:txBody>
      </p:sp>
      <p:sp>
        <p:nvSpPr>
          <p:cNvPr id="2" name="Title 1"/>
          <p:cNvSpPr>
            <a:spLocks noGrp="1"/>
          </p:cNvSpPr>
          <p:nvPr>
            <p:ph type="ctrTitle" hasCustomPrompt="1"/>
          </p:nvPr>
        </p:nvSpPr>
        <p:spPr>
          <a:xfrm>
            <a:off x="2826555" y="1807151"/>
            <a:ext cx="8178613" cy="1629459"/>
          </a:xfrm>
          <a:prstGeom prst="rect">
            <a:avLst/>
          </a:prstGeom>
        </p:spPr>
        <p:txBody>
          <a:bodyPr anchor="b"/>
          <a:lstStyle>
            <a:lvl1pPr algn="l">
              <a:defRPr sz="5333" b="1" i="0" baseline="0">
                <a:solidFill>
                  <a:srgbClr val="00314C"/>
                </a:solidFill>
                <a:latin typeface="Verdana" charset="0"/>
                <a:ea typeface="Verdana" charset="0"/>
                <a:cs typeface="Verdana" charset="0"/>
              </a:defRPr>
            </a:lvl1pPr>
          </a:lstStyle>
          <a:p>
            <a:r>
              <a:rPr lang="en-US"/>
              <a:t>Presentation Title (40pt)</a:t>
            </a:r>
          </a:p>
        </p:txBody>
      </p:sp>
      <p:sp>
        <p:nvSpPr>
          <p:cNvPr id="4" name="Date Placeholder 3"/>
          <p:cNvSpPr>
            <a:spLocks noGrp="1"/>
          </p:cNvSpPr>
          <p:nvPr>
            <p:ph type="dt" sz="half" idx="10"/>
          </p:nvPr>
        </p:nvSpPr>
        <p:spPr/>
        <p:txBody>
          <a:bodyPr/>
          <a:lstStyle/>
          <a:p>
            <a:fld id="{74532A70-E035-AA47-9734-5D07D7BBF15C}" type="datetimeFigureOut">
              <a:rPr lang="en-US" smtClean="0"/>
              <a:t>2/26/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AA5C1C5-BCFD-E74C-BB4D-B3A564E128BA}" type="slidenum">
              <a:rPr lang="en-US" smtClean="0"/>
              <a:t>‹#›</a:t>
            </a:fld>
            <a:endParaRPr lang="en-US"/>
          </a:p>
        </p:txBody>
      </p:sp>
      <p:sp>
        <p:nvSpPr>
          <p:cNvPr id="7" name="Rectangle 12">
            <a:extLst>
              <a:ext uri="{FF2B5EF4-FFF2-40B4-BE49-F238E27FC236}">
                <a16:creationId xmlns:a16="http://schemas.microsoft.com/office/drawing/2014/main" id="{F5B886B3-8C49-D741-A041-118D116EDF7B}"/>
              </a:ext>
            </a:extLst>
          </p:cNvPr>
          <p:cNvSpPr/>
          <p:nvPr userDrawn="1"/>
        </p:nvSpPr>
        <p:spPr>
          <a:xfrm rot="10800000">
            <a:off x="1" y="2000248"/>
            <a:ext cx="2785068" cy="2042851"/>
          </a:xfrm>
          <a:custGeom>
            <a:avLst/>
            <a:gdLst>
              <a:gd name="connsiteX0" fmla="*/ 0 w 9564547"/>
              <a:gd name="connsiteY0" fmla="*/ 0 h 1031872"/>
              <a:gd name="connsiteX1" fmla="*/ 9564547 w 9564547"/>
              <a:gd name="connsiteY1" fmla="*/ 0 h 1031872"/>
              <a:gd name="connsiteX2" fmla="*/ 9564547 w 9564547"/>
              <a:gd name="connsiteY2" fmla="*/ 1031872 h 1031872"/>
              <a:gd name="connsiteX3" fmla="*/ 0 w 9564547"/>
              <a:gd name="connsiteY3" fmla="*/ 1031872 h 1031872"/>
              <a:gd name="connsiteX4" fmla="*/ 0 w 9564547"/>
              <a:gd name="connsiteY4" fmla="*/ 0 h 1031872"/>
              <a:gd name="connsiteX0" fmla="*/ 729205 w 10293752"/>
              <a:gd name="connsiteY0" fmla="*/ 0 h 1031872"/>
              <a:gd name="connsiteX1" fmla="*/ 10293752 w 10293752"/>
              <a:gd name="connsiteY1" fmla="*/ 0 h 1031872"/>
              <a:gd name="connsiteX2" fmla="*/ 10293752 w 10293752"/>
              <a:gd name="connsiteY2" fmla="*/ 1031872 h 1031872"/>
              <a:gd name="connsiteX3" fmla="*/ 0 w 10293752"/>
              <a:gd name="connsiteY3" fmla="*/ 1020297 h 1031872"/>
              <a:gd name="connsiteX4" fmla="*/ 729205 w 10293752"/>
              <a:gd name="connsiteY4" fmla="*/ 0 h 1031872"/>
              <a:gd name="connsiteX0" fmla="*/ 729205 w 10293752"/>
              <a:gd name="connsiteY0" fmla="*/ 0 h 1043446"/>
              <a:gd name="connsiteX1" fmla="*/ 10293752 w 10293752"/>
              <a:gd name="connsiteY1" fmla="*/ 0 h 1043446"/>
              <a:gd name="connsiteX2" fmla="*/ 10293752 w 10293752"/>
              <a:gd name="connsiteY2" fmla="*/ 1031872 h 1043446"/>
              <a:gd name="connsiteX3" fmla="*/ 0 w 10293752"/>
              <a:gd name="connsiteY3" fmla="*/ 1043446 h 1043446"/>
              <a:gd name="connsiteX4" fmla="*/ 729205 w 10293752"/>
              <a:gd name="connsiteY4" fmla="*/ 0 h 1043446"/>
              <a:gd name="connsiteX0" fmla="*/ 740779 w 10305326"/>
              <a:gd name="connsiteY0" fmla="*/ 0 h 1055021"/>
              <a:gd name="connsiteX1" fmla="*/ 10305326 w 10305326"/>
              <a:gd name="connsiteY1" fmla="*/ 0 h 1055021"/>
              <a:gd name="connsiteX2" fmla="*/ 10305326 w 10305326"/>
              <a:gd name="connsiteY2" fmla="*/ 1031872 h 1055021"/>
              <a:gd name="connsiteX3" fmla="*/ 0 w 10305326"/>
              <a:gd name="connsiteY3" fmla="*/ 1055021 h 1055021"/>
              <a:gd name="connsiteX4" fmla="*/ 740779 w 10305326"/>
              <a:gd name="connsiteY4" fmla="*/ 0 h 1055021"/>
              <a:gd name="connsiteX0" fmla="*/ 729204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729204 w 10293751"/>
              <a:gd name="connsiteY4" fmla="*/ 0 h 1031872"/>
              <a:gd name="connsiteX0" fmla="*/ 2057270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057270 w 10293751"/>
              <a:gd name="connsiteY4" fmla="*/ 0 h 1031872"/>
              <a:gd name="connsiteX0" fmla="*/ 2673873 w 10293751"/>
              <a:gd name="connsiteY0" fmla="*/ 0 h 1031872"/>
              <a:gd name="connsiteX1" fmla="*/ 10293751 w 10293751"/>
              <a:gd name="connsiteY1" fmla="*/ 0 h 1031872"/>
              <a:gd name="connsiteX2" fmla="*/ 10293751 w 10293751"/>
              <a:gd name="connsiteY2" fmla="*/ 1031872 h 1031872"/>
              <a:gd name="connsiteX3" fmla="*/ 0 w 10293751"/>
              <a:gd name="connsiteY3" fmla="*/ 1031871 h 1031872"/>
              <a:gd name="connsiteX4" fmla="*/ 2673873 w 10293751"/>
              <a:gd name="connsiteY4" fmla="*/ 0 h 1031872"/>
              <a:gd name="connsiteX0" fmla="*/ 3432769 w 10293751"/>
              <a:gd name="connsiteY0" fmla="*/ 0 h 1055022"/>
              <a:gd name="connsiteX1" fmla="*/ 10293751 w 10293751"/>
              <a:gd name="connsiteY1" fmla="*/ 23150 h 1055022"/>
              <a:gd name="connsiteX2" fmla="*/ 10293751 w 10293751"/>
              <a:gd name="connsiteY2" fmla="*/ 1055022 h 1055022"/>
              <a:gd name="connsiteX3" fmla="*/ 0 w 10293751"/>
              <a:gd name="connsiteY3" fmla="*/ 1055021 h 1055022"/>
              <a:gd name="connsiteX4" fmla="*/ 3432769 w 10293751"/>
              <a:gd name="connsiteY4" fmla="*/ 0 h 1055022"/>
              <a:gd name="connsiteX0" fmla="*/ 3100752 w 10293751"/>
              <a:gd name="connsiteY0" fmla="*/ 0 h 1043448"/>
              <a:gd name="connsiteX1" fmla="*/ 10293751 w 10293751"/>
              <a:gd name="connsiteY1" fmla="*/ 11576 h 1043448"/>
              <a:gd name="connsiteX2" fmla="*/ 10293751 w 10293751"/>
              <a:gd name="connsiteY2" fmla="*/ 1043448 h 1043448"/>
              <a:gd name="connsiteX3" fmla="*/ 0 w 10293751"/>
              <a:gd name="connsiteY3" fmla="*/ 1043447 h 1043448"/>
              <a:gd name="connsiteX4" fmla="*/ 3100752 w 10293751"/>
              <a:gd name="connsiteY4" fmla="*/ 0 h 1043448"/>
              <a:gd name="connsiteX0" fmla="*/ 3100752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100752 w 10293751"/>
              <a:gd name="connsiteY4" fmla="*/ 0 h 1031873"/>
              <a:gd name="connsiteX0" fmla="*/ 3579068 w 10293751"/>
              <a:gd name="connsiteY0" fmla="*/ 0 h 1031873"/>
              <a:gd name="connsiteX1" fmla="*/ 10293751 w 10293751"/>
              <a:gd name="connsiteY1" fmla="*/ 1 h 1031873"/>
              <a:gd name="connsiteX2" fmla="*/ 10293751 w 10293751"/>
              <a:gd name="connsiteY2" fmla="*/ 1031873 h 1031873"/>
              <a:gd name="connsiteX3" fmla="*/ 0 w 10293751"/>
              <a:gd name="connsiteY3" fmla="*/ 1031872 h 1031873"/>
              <a:gd name="connsiteX4" fmla="*/ 3579068 w 10293751"/>
              <a:gd name="connsiteY4" fmla="*/ 0 h 10318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93751" h="1031873">
                <a:moveTo>
                  <a:pt x="3579068" y="0"/>
                </a:moveTo>
                <a:lnTo>
                  <a:pt x="10293751" y="1"/>
                </a:lnTo>
                <a:lnTo>
                  <a:pt x="10293751" y="1031873"/>
                </a:lnTo>
                <a:lnTo>
                  <a:pt x="0" y="1031872"/>
                </a:lnTo>
                <a:lnTo>
                  <a:pt x="3579068" y="0"/>
                </a:lnTo>
                <a:close/>
              </a:path>
            </a:pathLst>
          </a:cu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9" name="Rectangle 8">
            <a:extLst>
              <a:ext uri="{FF2B5EF4-FFF2-40B4-BE49-F238E27FC236}">
                <a16:creationId xmlns:a16="http://schemas.microsoft.com/office/drawing/2014/main" id="{6AED7014-B2AA-DB40-863A-452745F507E6}"/>
              </a:ext>
            </a:extLst>
          </p:cNvPr>
          <p:cNvSpPr/>
          <p:nvPr userDrawn="1"/>
        </p:nvSpPr>
        <p:spPr>
          <a:xfrm>
            <a:off x="0" y="6115051"/>
            <a:ext cx="12192000" cy="742949"/>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 Placeholder 11"/>
          <p:cNvSpPr>
            <a:spLocks noGrp="1"/>
          </p:cNvSpPr>
          <p:nvPr>
            <p:ph type="body" sz="quarter" idx="13" hasCustomPrompt="1"/>
          </p:nvPr>
        </p:nvSpPr>
        <p:spPr>
          <a:xfrm>
            <a:off x="2826555" y="3447399"/>
            <a:ext cx="8178613" cy="713317"/>
          </a:xfrm>
          <a:prstGeom prst="rect">
            <a:avLst/>
          </a:prstGeom>
        </p:spPr>
        <p:txBody>
          <a:bodyPr/>
          <a:lstStyle>
            <a:lvl1pPr marL="0" indent="0">
              <a:buNone/>
              <a:defRPr sz="3200" b="0" i="0">
                <a:solidFill>
                  <a:srgbClr val="00314C"/>
                </a:solidFill>
                <a:latin typeface="Verdana" charset="0"/>
                <a:ea typeface="Verdana" charset="0"/>
                <a:cs typeface="Verdana" charset="0"/>
              </a:defRPr>
            </a:lvl1pPr>
          </a:lstStyle>
          <a:p>
            <a:pPr lvl="0"/>
            <a:r>
              <a:rPr lang="en-US"/>
              <a:t>Subtitle (24)</a:t>
            </a:r>
          </a:p>
        </p:txBody>
      </p:sp>
      <p:pic>
        <p:nvPicPr>
          <p:cNvPr id="13" name="Picture 12">
            <a:extLst>
              <a:ext uri="{FF2B5EF4-FFF2-40B4-BE49-F238E27FC236}">
                <a16:creationId xmlns:a16="http://schemas.microsoft.com/office/drawing/2014/main" id="{D45773D2-6F75-8443-B3A1-EAC994FA804A}"/>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2829834" y="4178329"/>
            <a:ext cx="4395959" cy="1140163"/>
          </a:xfrm>
          <a:prstGeom prst="rect">
            <a:avLst/>
          </a:prstGeom>
        </p:spPr>
      </p:pic>
    </p:spTree>
    <p:extLst>
      <p:ext uri="{BB962C8B-B14F-4D97-AF65-F5344CB8AC3E}">
        <p14:creationId xmlns:p14="http://schemas.microsoft.com/office/powerpoint/2010/main" val="3093203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userDrawn="1">
  <p:cSld name="Title and Bullets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48990" y="783845"/>
            <a:ext cx="10177757"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1" name="Rectangle 10">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Text Placeholder 4"/>
          <p:cNvSpPr>
            <a:spLocks noGrp="1"/>
          </p:cNvSpPr>
          <p:nvPr>
            <p:ph type="body" sz="quarter" idx="10" hasCustomPrompt="1"/>
          </p:nvPr>
        </p:nvSpPr>
        <p:spPr>
          <a:xfrm>
            <a:off x="848784" y="1615018"/>
            <a:ext cx="10176933" cy="3812116"/>
          </a:xfrm>
          <a:prstGeom prst="rect">
            <a:avLst/>
          </a:prstGeom>
        </p:spPr>
        <p:txBody>
          <a:bodyPr/>
          <a:lstStyle>
            <a:lvl1pPr marL="380990" indent="-380990">
              <a:buFont typeface="Arial" panose="020B0604020202020204" pitchFamily="34" charset="0"/>
              <a:buChar char="•"/>
              <a:defRPr sz="2133" b="0" baseline="0">
                <a:solidFill>
                  <a:schemeClr val="tx1"/>
                </a:solidFill>
                <a:latin typeface="Verdana" charset="0"/>
                <a:ea typeface="Verdana" charset="0"/>
                <a:cs typeface="Verdana" charset="0"/>
              </a:defRPr>
            </a:lvl1pPr>
            <a:lvl2pPr>
              <a:defRPr sz="2133">
                <a:latin typeface="Verdana" charset="0"/>
                <a:ea typeface="Verdana" charset="0"/>
                <a:cs typeface="Verdana" charset="0"/>
              </a:defRPr>
            </a:lvl2pPr>
            <a:lvl3pPr>
              <a:defRPr sz="2133">
                <a:latin typeface="Verdana" charset="0"/>
                <a:ea typeface="Verdana" charset="0"/>
                <a:cs typeface="Verdana" charset="0"/>
              </a:defRPr>
            </a:lvl3pPr>
            <a:lvl4pPr>
              <a:defRPr sz="2133">
                <a:latin typeface="Verdana" charset="0"/>
                <a:ea typeface="Verdana" charset="0"/>
                <a:cs typeface="Verdana" charset="0"/>
              </a:defRPr>
            </a:lvl4pPr>
            <a:lvl5pPr>
              <a:defRPr sz="2133">
                <a:latin typeface="Verdana" charset="0"/>
                <a:ea typeface="Verdana" charset="0"/>
                <a:cs typeface="Verdana" charset="0"/>
              </a:defRPr>
            </a:lvl5pPr>
          </a:lstStyle>
          <a:p>
            <a:pPr lvl="0"/>
            <a:r>
              <a:rPr lang="en-US"/>
              <a:t>Copy goes here</a:t>
            </a:r>
          </a:p>
          <a:p>
            <a:pPr lvl="0"/>
            <a:endParaRPr lang="en-US"/>
          </a:p>
        </p:txBody>
      </p:sp>
      <p:pic>
        <p:nvPicPr>
          <p:cNvPr id="7" name="Picture 6">
            <a:extLst>
              <a:ext uri="{FF2B5EF4-FFF2-40B4-BE49-F238E27FC236}">
                <a16:creationId xmlns:a16="http://schemas.microsoft.com/office/drawing/2014/main" id="{BF971B31-57A8-E440-A02E-BFAC023C30A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3610496501"/>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cSld name="1_Title and Conten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pic>
        <p:nvPicPr>
          <p:cNvPr id="11" name="Picture 10">
            <a:extLst>
              <a:ext uri="{FF2B5EF4-FFF2-40B4-BE49-F238E27FC236}">
                <a16:creationId xmlns:a16="http://schemas.microsoft.com/office/drawing/2014/main" id="{C7C0297A-27A4-6847-86E1-31452C2EFFC8}"/>
              </a:ext>
            </a:extLst>
          </p:cNvPr>
          <p:cNvPicPr>
            <a:picLocks noChangeAspect="1"/>
          </p:cNvPicPr>
          <p:nvPr/>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p:cNvSpPr>
            <a:spLocks noGrp="1"/>
          </p:cNvSpPr>
          <p:nvPr>
            <p:ph type="title" hasCustomPrompt="1"/>
          </p:nvPr>
        </p:nvSpPr>
        <p:spPr>
          <a:xfrm>
            <a:off x="848989" y="806856"/>
            <a:ext cx="10156179"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sp>
        <p:nvSpPr>
          <p:cNvPr id="16" name="Text Placeholder 15"/>
          <p:cNvSpPr>
            <a:spLocks noGrp="1"/>
          </p:cNvSpPr>
          <p:nvPr>
            <p:ph type="body" sz="quarter" idx="10" hasCustomPrompt="1"/>
          </p:nvPr>
        </p:nvSpPr>
        <p:spPr>
          <a:xfrm>
            <a:off x="848989" y="1637853"/>
            <a:ext cx="10156179" cy="4117159"/>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aseline="0">
                <a:latin typeface="Verdana" charset="0"/>
                <a:ea typeface="Verdana" charset="0"/>
                <a:cs typeface="Verdana" charset="0"/>
              </a:defRPr>
            </a:lvl1pPr>
            <a:lvl2pPr>
              <a:defRPr sz="1867">
                <a:latin typeface="Verdana" charset="0"/>
                <a:ea typeface="Verdana" charset="0"/>
                <a:cs typeface="Verdana" charset="0"/>
              </a:defRPr>
            </a:lvl2pPr>
            <a:lvl3pPr>
              <a:defRPr sz="1867">
                <a:latin typeface="Verdana" charset="0"/>
                <a:ea typeface="Verdana" charset="0"/>
                <a:cs typeface="Verdana" charset="0"/>
              </a:defRPr>
            </a:lvl3pPr>
            <a:lvl4pPr>
              <a:defRPr sz="1867">
                <a:latin typeface="Verdana" charset="0"/>
                <a:ea typeface="Verdana" charset="0"/>
                <a:cs typeface="Verdana" charset="0"/>
              </a:defRPr>
            </a:lvl4pPr>
            <a:lvl5pPr>
              <a:defRPr sz="1867">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Tree>
    <p:extLst>
      <p:ext uri="{BB962C8B-B14F-4D97-AF65-F5344CB8AC3E}">
        <p14:creationId xmlns:p14="http://schemas.microsoft.com/office/powerpoint/2010/main" val="1410130633"/>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cSld name="Two Section | Picture and Copy Layou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C6A398F-399D-6046-96E4-CB78EEB98E17}"/>
              </a:ext>
            </a:extLst>
          </p:cNvPr>
          <p:cNvSpPr/>
          <p:nvPr/>
        </p:nvSpPr>
        <p:spPr>
          <a:xfrm>
            <a:off x="0" y="6313117"/>
            <a:ext cx="12192000" cy="544883"/>
          </a:xfrm>
          <a:prstGeom prst="rect">
            <a:avLst/>
          </a:prstGeom>
          <a:solidFill>
            <a:srgbClr val="003B5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2" name="Rectangle 11">
            <a:extLst>
              <a:ext uri="{FF2B5EF4-FFF2-40B4-BE49-F238E27FC236}">
                <a16:creationId xmlns:a16="http://schemas.microsoft.com/office/drawing/2014/main" id="{C58C0E9E-5FF9-814A-A5B3-9292D33A0644}"/>
              </a:ext>
            </a:extLst>
          </p:cNvPr>
          <p:cNvSpPr/>
          <p:nvPr/>
        </p:nvSpPr>
        <p:spPr>
          <a:xfrm>
            <a:off x="0" y="6301514"/>
            <a:ext cx="12192000" cy="45719"/>
          </a:xfrm>
          <a:prstGeom prst="rect">
            <a:avLst/>
          </a:prstGeom>
          <a:solidFill>
            <a:srgbClr val="A4D65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3" name="Content Placeholder 2"/>
          <p:cNvSpPr>
            <a:spLocks noGrp="1"/>
          </p:cNvSpPr>
          <p:nvPr>
            <p:ph sz="half" idx="1" hasCustomPrompt="1"/>
          </p:nvPr>
        </p:nvSpPr>
        <p:spPr>
          <a:xfrm>
            <a:off x="1186832" y="1294452"/>
            <a:ext cx="3983336" cy="3788089"/>
          </a:xfrm>
          <a:prstGeom prst="rect">
            <a:avLst/>
          </a:prstGeom>
        </p:spPr>
        <p:txBody>
          <a:bodyPr/>
          <a:lstStyle>
            <a:lvl1pPr marL="0" indent="0">
              <a:buNone/>
              <a:defRPr sz="1200" b="0" i="1" baseline="0">
                <a:solidFill>
                  <a:srgbClr val="003B5C"/>
                </a:solidFill>
                <a:latin typeface="Verdana" charset="0"/>
                <a:ea typeface="Verdana" charset="0"/>
                <a:cs typeface="Verdana" charset="0"/>
              </a:defRPr>
            </a:lvl1pPr>
          </a:lstStyle>
          <a:p>
            <a:pPr lvl="0"/>
            <a:r>
              <a:rPr lang="en-US"/>
              <a:t>*Insert Image Here</a:t>
            </a:r>
          </a:p>
        </p:txBody>
      </p:sp>
      <p:sp>
        <p:nvSpPr>
          <p:cNvPr id="4" name="Content Placeholder 3"/>
          <p:cNvSpPr>
            <a:spLocks noGrp="1"/>
          </p:cNvSpPr>
          <p:nvPr>
            <p:ph sz="half" idx="2" hasCustomPrompt="1"/>
          </p:nvPr>
        </p:nvSpPr>
        <p:spPr>
          <a:xfrm>
            <a:off x="5549395" y="1997127"/>
            <a:ext cx="5466561" cy="3085413"/>
          </a:xfrm>
          <a:prstGeom prst="rect">
            <a:avLst/>
          </a:prstGeom>
        </p:spPr>
        <p:txBody>
          <a:bodyPr/>
          <a:lstStyle>
            <a:lvl1pPr marL="0" marR="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sz="2133" b="0" baseline="0">
                <a:solidFill>
                  <a:schemeClr val="tx1"/>
                </a:solidFill>
                <a:latin typeface="Verdana" charset="0"/>
                <a:ea typeface="Verdana" charset="0"/>
                <a:cs typeface="Verdana" charset="0"/>
              </a:defRPr>
            </a:lvl1pPr>
            <a:lvl2pPr>
              <a:defRPr sz="1867" b="0">
                <a:solidFill>
                  <a:srgbClr val="003B5C"/>
                </a:solidFill>
                <a:latin typeface="Verdana" charset="0"/>
                <a:ea typeface="Verdana" charset="0"/>
                <a:cs typeface="Verdana" charset="0"/>
              </a:defRPr>
            </a:lvl2pPr>
            <a:lvl3pPr>
              <a:defRPr sz="1867" b="0">
                <a:solidFill>
                  <a:srgbClr val="003B5C"/>
                </a:solidFill>
                <a:latin typeface="Verdana" charset="0"/>
                <a:ea typeface="Verdana" charset="0"/>
                <a:cs typeface="Verdana" charset="0"/>
              </a:defRPr>
            </a:lvl3pPr>
            <a:lvl4pPr>
              <a:defRPr sz="1867" b="0">
                <a:solidFill>
                  <a:srgbClr val="003B5C"/>
                </a:solidFill>
                <a:latin typeface="Verdana" charset="0"/>
                <a:ea typeface="Verdana" charset="0"/>
                <a:cs typeface="Verdana" charset="0"/>
              </a:defRPr>
            </a:lvl4pPr>
            <a:lvl5pPr>
              <a:defRPr sz="1867" b="0">
                <a:solidFill>
                  <a:srgbClr val="003B5C"/>
                </a:solidFill>
                <a:latin typeface="Verdana" charset="0"/>
                <a:ea typeface="Verdana" charset="0"/>
                <a:cs typeface="Verdana" charset="0"/>
              </a:defRPr>
            </a:lvl5pPr>
          </a:lstStyle>
          <a:p>
            <a:pPr marL="0" marR="0" lvl="0" indent="0" algn="l" defTabSz="914377" rtl="0" eaLnBrk="1" fontAlgn="auto" latinLnBrk="0" hangingPunct="1">
              <a:lnSpc>
                <a:spcPct val="90000"/>
              </a:lnSpc>
              <a:spcBef>
                <a:spcPts val="1000"/>
              </a:spcBef>
              <a:spcAft>
                <a:spcPts val="0"/>
              </a:spcAft>
              <a:buClrTx/>
              <a:buSzTx/>
              <a:buFont typeface="Arial" panose="020B0604020202020204" pitchFamily="34" charset="0"/>
              <a:buNone/>
              <a:tabLst/>
              <a:defRPr/>
            </a:pPr>
            <a:r>
              <a:rPr lang="en-US"/>
              <a:t>Copy goes here. </a:t>
            </a:r>
          </a:p>
        </p:txBody>
      </p:sp>
      <p:sp>
        <p:nvSpPr>
          <p:cNvPr id="17" name="Title 16"/>
          <p:cNvSpPr>
            <a:spLocks noGrp="1"/>
          </p:cNvSpPr>
          <p:nvPr>
            <p:ph type="title" hasCustomPrompt="1"/>
          </p:nvPr>
        </p:nvSpPr>
        <p:spPr>
          <a:xfrm>
            <a:off x="5549395" y="1154526"/>
            <a:ext cx="5466561" cy="830997"/>
          </a:xfrm>
          <a:prstGeom prst="rect">
            <a:avLst/>
          </a:prstGeom>
        </p:spPr>
        <p:txBody>
          <a:bodyPr wrap="square" anchor="b" anchorCtr="0">
            <a:spAutoFit/>
          </a:bodyPr>
          <a:lstStyle>
            <a:lvl1pPr>
              <a:defRPr sz="4800" b="1" i="0">
                <a:solidFill>
                  <a:srgbClr val="003B5C"/>
                </a:solidFill>
                <a:latin typeface="Verdana" charset="0"/>
                <a:ea typeface="Verdana" charset="0"/>
                <a:cs typeface="Verdana" charset="0"/>
              </a:defRPr>
            </a:lvl1pPr>
          </a:lstStyle>
          <a:p>
            <a:r>
              <a:rPr lang="en-US"/>
              <a:t>Headline</a:t>
            </a:r>
          </a:p>
        </p:txBody>
      </p:sp>
      <p:pic>
        <p:nvPicPr>
          <p:cNvPr id="8" name="Picture 7">
            <a:extLst>
              <a:ext uri="{FF2B5EF4-FFF2-40B4-BE49-F238E27FC236}">
                <a16:creationId xmlns:a16="http://schemas.microsoft.com/office/drawing/2014/main" id="{3B203E0B-1FAC-F64F-A8A3-54937D9BF5E4}"/>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7132672" y="6364408"/>
            <a:ext cx="5059328" cy="493592"/>
          </a:xfrm>
          <a:prstGeom prst="rect">
            <a:avLst/>
          </a:prstGeom>
        </p:spPr>
      </p:pic>
    </p:spTree>
    <p:extLst>
      <p:ext uri="{BB962C8B-B14F-4D97-AF65-F5344CB8AC3E}">
        <p14:creationId xmlns:p14="http://schemas.microsoft.com/office/powerpoint/2010/main" val="698059872"/>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5" name="Title 1">
            <a:extLst>
              <a:ext uri="{FF2B5EF4-FFF2-40B4-BE49-F238E27FC236}">
                <a16:creationId xmlns:a16="http://schemas.microsoft.com/office/drawing/2014/main" id="{A68E7E05-5EEE-41D8-B522-A98D6D554E7B}"/>
              </a:ext>
            </a:extLst>
          </p:cNvPr>
          <p:cNvSpPr>
            <a:spLocks noGrp="1"/>
          </p:cNvSpPr>
          <p:nvPr>
            <p:ph type="ctrTitle"/>
          </p:nvPr>
        </p:nvSpPr>
        <p:spPr>
          <a:xfrm>
            <a:off x="731520" y="475249"/>
            <a:ext cx="10728960" cy="2387600"/>
          </a:xfrm>
        </p:spPr>
        <p:txBody>
          <a:bodyPr anchor="b">
            <a:normAutofit/>
          </a:bodyPr>
          <a:lstStyle>
            <a:lvl1pPr algn="ctr">
              <a:defRPr sz="3600"/>
            </a:lvl1pPr>
          </a:lstStyle>
          <a:p>
            <a:r>
              <a:rPr lang="en-US"/>
              <a:t>Click to edit Master title style</a:t>
            </a:r>
          </a:p>
        </p:txBody>
      </p:sp>
      <p:pic>
        <p:nvPicPr>
          <p:cNvPr id="4" name="Picture 3" descr="Logo, company name&#10;&#10;Description automatically generated">
            <a:extLst>
              <a:ext uri="{FF2B5EF4-FFF2-40B4-BE49-F238E27FC236}">
                <a16:creationId xmlns:a16="http://schemas.microsoft.com/office/drawing/2014/main" id="{324B25E2-70EF-4C17-BC63-4624D9A0F2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247860541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31520" y="475249"/>
            <a:ext cx="10728960" cy="2387600"/>
          </a:xfrm>
        </p:spPr>
        <p:txBody>
          <a:bodyPr anchor="b">
            <a:normAutofit/>
          </a:bodyPr>
          <a:lstStyle>
            <a:lvl1pPr algn="l">
              <a:defRPr sz="3600"/>
            </a:lvl1pPr>
          </a:lstStyle>
          <a:p>
            <a:r>
              <a:rPr lang="en-US"/>
              <a:t>Click to edit Master title style</a:t>
            </a:r>
          </a:p>
        </p:txBody>
      </p:sp>
      <p:sp>
        <p:nvSpPr>
          <p:cNvPr id="3" name="Subtitle 2"/>
          <p:cNvSpPr>
            <a:spLocks noGrp="1"/>
          </p:cNvSpPr>
          <p:nvPr>
            <p:ph type="subTitle" idx="1"/>
          </p:nvPr>
        </p:nvSpPr>
        <p:spPr>
          <a:xfrm>
            <a:off x="750279" y="3250348"/>
            <a:ext cx="10691445" cy="1138775"/>
          </a:xfrm>
        </p:spPr>
        <p:txBody>
          <a:bodyPr>
            <a:normAutofit/>
          </a:bodyPr>
          <a:lstStyle>
            <a:lvl1pPr marL="0" indent="0" algn="l">
              <a:buNone/>
              <a:defRPr sz="2100">
                <a:solidFill>
                  <a:schemeClr val="bg2">
                    <a:lumMod val="5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174102178"/>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581465" y="1575583"/>
            <a:ext cx="11163875" cy="4601381"/>
          </a:xfrm>
        </p:spPr>
        <p:txBody>
          <a:bodyPr/>
          <a:lstStyle>
            <a:lvl4pPr>
              <a:defRPr>
                <a:solidFill>
                  <a:schemeClr val="bg2">
                    <a:lumMod val="50000"/>
                  </a:schemeClr>
                </a:solidFill>
              </a:defRPr>
            </a:lvl4pPr>
            <a:lvl5pPr>
              <a:defRPr>
                <a:solidFill>
                  <a:schemeClr val="bg2">
                    <a:lumMod val="50000"/>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53855354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81463" y="1574802"/>
            <a:ext cx="5181600" cy="4351338"/>
          </a:xfrm>
        </p:spPr>
        <p:txBody>
          <a:bodyPr/>
          <a:lstStyle/>
          <a:p>
            <a:pPr lvl="0"/>
            <a:r>
              <a:rPr lang="en-US"/>
              <a:t>Edit Master text styles</a:t>
            </a:r>
          </a:p>
          <a:p>
            <a:pPr lvl="1"/>
            <a:r>
              <a:rPr lang="en-US"/>
              <a:t>Second level</a:t>
            </a:r>
          </a:p>
          <a:p>
            <a:pPr lvl="2"/>
            <a:r>
              <a:rPr lang="en-US"/>
              <a:t>Third level</a:t>
            </a:r>
          </a:p>
        </p:txBody>
      </p:sp>
      <p:sp>
        <p:nvSpPr>
          <p:cNvPr id="4" name="Content Placeholder 3"/>
          <p:cNvSpPr>
            <a:spLocks noGrp="1"/>
          </p:cNvSpPr>
          <p:nvPr>
            <p:ph sz="half" idx="2"/>
          </p:nvPr>
        </p:nvSpPr>
        <p:spPr>
          <a:xfrm>
            <a:off x="6172200" y="1574802"/>
            <a:ext cx="5181600" cy="4351338"/>
          </a:xfrm>
        </p:spPr>
        <p:txBody>
          <a:bodyPr/>
          <a:lstStyle/>
          <a:p>
            <a:pPr lvl="0"/>
            <a:r>
              <a:rPr lang="en-US"/>
              <a:t>Edit Master text styles</a:t>
            </a:r>
          </a:p>
          <a:p>
            <a:pPr lvl="1"/>
            <a:r>
              <a:rPr lang="en-US"/>
              <a:t>Second level</a:t>
            </a:r>
          </a:p>
          <a:p>
            <a:pPr lvl="2"/>
            <a:r>
              <a:rPr lang="en-US"/>
              <a:t>Third level</a:t>
            </a:r>
          </a:p>
        </p:txBody>
      </p:sp>
      <p:sp>
        <p:nvSpPr>
          <p:cNvPr id="7" name="Slide Number Placeholder 6"/>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167249282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76EB727E-5B2C-4310-AB66-CE5561C8F44D}" type="slidenum">
              <a:rPr lang="en-US" smtClean="0"/>
              <a:t>‹#›</a:t>
            </a:fld>
            <a:endParaRPr lang="en-US"/>
          </a:p>
        </p:txBody>
      </p:sp>
    </p:spTree>
    <p:extLst>
      <p:ext uri="{BB962C8B-B14F-4D97-AF65-F5344CB8AC3E}">
        <p14:creationId xmlns:p14="http://schemas.microsoft.com/office/powerpoint/2010/main" val="381998579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76EB727E-5B2C-4310-AB66-CE5561C8F44D}" type="slidenum">
              <a:rPr lang="en-US" smtClean="0"/>
              <a:t>‹#›</a:t>
            </a:fld>
            <a:endParaRPr lang="en-US"/>
          </a:p>
        </p:txBody>
      </p:sp>
      <p:pic>
        <p:nvPicPr>
          <p:cNvPr id="5" name="Picture 4" descr="Logo, company name&#10;&#10;Description automatically generated">
            <a:extLst>
              <a:ext uri="{FF2B5EF4-FFF2-40B4-BE49-F238E27FC236}">
                <a16:creationId xmlns:a16="http://schemas.microsoft.com/office/drawing/2014/main" id="{943CB561-5AED-42CE-B21C-0F4C3E0068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071"/>
            <a:ext cx="12192000" cy="6855858"/>
          </a:xfrm>
          <a:prstGeom prst="rect">
            <a:avLst/>
          </a:prstGeom>
        </p:spPr>
      </p:pic>
    </p:spTree>
    <p:extLst>
      <p:ext uri="{BB962C8B-B14F-4D97-AF65-F5344CB8AC3E}">
        <p14:creationId xmlns:p14="http://schemas.microsoft.com/office/powerpoint/2010/main" val="1035674719"/>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rm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8" name="Straight Connector 17">
            <a:extLst>
              <a:ext uri="{FF2B5EF4-FFF2-40B4-BE49-F238E27FC236}">
                <a16:creationId xmlns:a16="http://schemas.microsoft.com/office/drawing/2014/main" id="{4A3686E6-74E2-FE49-AAC4-953D01F3F562}"/>
              </a:ext>
            </a:extLst>
          </p:cNvPr>
          <p:cNvCxnSpPr/>
          <p:nvPr userDrawn="1"/>
        </p:nvCxnSpPr>
        <p:spPr>
          <a:xfrm>
            <a:off x="1520055" y="350798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433701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33" name="Straight Connector 32">
            <a:extLst>
              <a:ext uri="{FF2B5EF4-FFF2-40B4-BE49-F238E27FC236}">
                <a16:creationId xmlns:a16="http://schemas.microsoft.com/office/drawing/2014/main" id="{A9CB564A-C69C-944C-96FC-5B26C4A43C4A}"/>
              </a:ext>
            </a:extLst>
          </p:cNvPr>
          <p:cNvCxnSpPr/>
          <p:nvPr userDrawn="1"/>
        </p:nvCxnSpPr>
        <p:spPr>
          <a:xfrm>
            <a:off x="1520055" y="2811818"/>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3664284"/>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4710365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267675467"/>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9977E4BD-558F-4F49-BCCC-8097ACDB395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504767307"/>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1854FD4E-2BB6-AE40-B89B-76CA55068800}"/>
              </a:ext>
            </a:extLst>
          </p:cNvPr>
          <p:cNvCxnSpPr/>
          <p:nvPr userDrawn="1"/>
        </p:nvCxnSpPr>
        <p:spPr>
          <a:xfrm>
            <a:off x="704314"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678579581"/>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rm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06860712"/>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7BD2A368-37B4-AE41-8927-00C94D6431A1}"/>
              </a:ext>
            </a:extLst>
          </p:cNvPr>
          <p:cNvCxnSpPr/>
          <p:nvPr userDrawn="1"/>
        </p:nvCxnSpPr>
        <p:spPr>
          <a:xfrm>
            <a:off x="707293" y="1425993"/>
            <a:ext cx="109728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74151293"/>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3" name="Straight Connector 12">
            <a:extLst>
              <a:ext uri="{FF2B5EF4-FFF2-40B4-BE49-F238E27FC236}">
                <a16:creationId xmlns:a16="http://schemas.microsoft.com/office/drawing/2014/main" id="{73A1B7DC-DAD7-F944-AC53-2FDB50DEA0A1}"/>
              </a:ext>
            </a:extLst>
          </p:cNvPr>
          <p:cNvCxnSpPr>
            <a:cxnSpLocks/>
          </p:cNvCxnSpPr>
          <p:nvPr userDrawn="1"/>
        </p:nvCxnSpPr>
        <p:spPr>
          <a:xfrm>
            <a:off x="1325946" y="3080084"/>
            <a:ext cx="685399"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rm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p:nvPr>
        </p:nvSpPr>
        <p:spPr>
          <a:xfrm>
            <a:off x="1219200" y="1887490"/>
            <a:ext cx="5582652" cy="1078262"/>
          </a:xfrm>
        </p:spPr>
        <p:txBody>
          <a:bodyPr>
            <a:norm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114585257"/>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90329319"/>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rm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cxnSp>
        <p:nvCxnSpPr>
          <p:cNvPr id="15" name="Straight Connector 14">
            <a:extLst>
              <a:ext uri="{FF2B5EF4-FFF2-40B4-BE49-F238E27FC236}">
                <a16:creationId xmlns:a16="http://schemas.microsoft.com/office/drawing/2014/main" id="{B9A3468E-DF1F-A142-9123-E9C41E669E14}"/>
              </a:ext>
            </a:extLst>
          </p:cNvPr>
          <p:cNvCxnSpPr/>
          <p:nvPr userDrawn="1"/>
        </p:nvCxnSpPr>
        <p:spPr>
          <a:xfrm>
            <a:off x="620093" y="5141451"/>
            <a:ext cx="2286000"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773426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404090224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278142010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243765203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73248355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410343926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84787916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93026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3542031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6658525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926228292"/>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13824036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9792005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3880384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13348" y="136525"/>
            <a:ext cx="1945206" cy="879974"/>
          </a:xfrm>
          <a:prstGeom prst="rect">
            <a:avLst/>
          </a:prstGeom>
        </p:spPr>
      </p:pic>
    </p:spTree>
    <p:extLst>
      <p:ext uri="{BB962C8B-B14F-4D97-AF65-F5344CB8AC3E}">
        <p14:creationId xmlns:p14="http://schemas.microsoft.com/office/powerpoint/2010/main" val="185549410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325357221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402549073"/>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392953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75854280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9674214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83143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468987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80357277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70553273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33969051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75116221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2223386845"/>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63568831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322063742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37749632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82798898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90444802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210091495"/>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578338968"/>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1917001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63151638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13078311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4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036500789"/>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Cover 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1331D4E-0EAC-D04C-AD34-22F65D243FA1}"/>
              </a:ext>
            </a:extLst>
          </p:cNvPr>
          <p:cNvSpPr>
            <a:spLocks noGrp="1"/>
          </p:cNvSpPr>
          <p:nvPr>
            <p:ph type="ctrTitle"/>
          </p:nvPr>
        </p:nvSpPr>
        <p:spPr>
          <a:xfrm>
            <a:off x="513348" y="2633534"/>
            <a:ext cx="5194433" cy="2387600"/>
          </a:xfrm>
        </p:spPr>
        <p:txBody>
          <a:bodyPr anchor="b">
            <a:noAutofit/>
          </a:bodyPr>
          <a:lstStyle>
            <a:lvl1pPr algn="l">
              <a:defRPr sz="4000">
                <a:solidFill>
                  <a:schemeClr val="tx1"/>
                </a:solidFill>
              </a:defRPr>
            </a:lvl1pPr>
          </a:lstStyle>
          <a:p>
            <a:r>
              <a:rPr lang="en-US"/>
              <a:t>Click to edit Master title style</a:t>
            </a:r>
          </a:p>
        </p:txBody>
      </p:sp>
      <p:sp>
        <p:nvSpPr>
          <p:cNvPr id="3" name="Subtitle 2">
            <a:extLst>
              <a:ext uri="{FF2B5EF4-FFF2-40B4-BE49-F238E27FC236}">
                <a16:creationId xmlns:a16="http://schemas.microsoft.com/office/drawing/2014/main" id="{1F519E7E-7FC1-9A40-A17D-7E7F8C7269F8}"/>
              </a:ext>
            </a:extLst>
          </p:cNvPr>
          <p:cNvSpPr>
            <a:spLocks noGrp="1"/>
          </p:cNvSpPr>
          <p:nvPr>
            <p:ph type="subTitle" idx="1"/>
          </p:nvPr>
        </p:nvSpPr>
        <p:spPr>
          <a:xfrm>
            <a:off x="513348" y="5400325"/>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grpSp>
        <p:nvGrpSpPr>
          <p:cNvPr id="28" name="Group 27">
            <a:extLst>
              <a:ext uri="{FF2B5EF4-FFF2-40B4-BE49-F238E27FC236}">
                <a16:creationId xmlns:a16="http://schemas.microsoft.com/office/drawing/2014/main" id="{8DA88010-3869-0040-9A12-E3C1DFDF98B0}"/>
              </a:ext>
            </a:extLst>
          </p:cNvPr>
          <p:cNvGrpSpPr/>
          <p:nvPr userDrawn="1"/>
        </p:nvGrpSpPr>
        <p:grpSpPr>
          <a:xfrm flipH="1">
            <a:off x="-1" y="1"/>
            <a:ext cx="6418725" cy="1509822"/>
            <a:chOff x="7522541" y="1"/>
            <a:chExt cx="4669459" cy="1098357"/>
          </a:xfrm>
        </p:grpSpPr>
        <p:sp>
          <p:nvSpPr>
            <p:cNvPr id="30" name="Freeform 29">
              <a:extLst>
                <a:ext uri="{FF2B5EF4-FFF2-40B4-BE49-F238E27FC236}">
                  <a16:creationId xmlns:a16="http://schemas.microsoft.com/office/drawing/2014/main" id="{F722652D-3022-0749-A7E0-A0EA58DDD572}"/>
                </a:ext>
              </a:extLst>
            </p:cNvPr>
            <p:cNvSpPr/>
            <p:nvPr userDrawn="1"/>
          </p:nvSpPr>
          <p:spPr>
            <a:xfrm>
              <a:off x="7522541" y="1"/>
              <a:ext cx="4669459" cy="1098357"/>
            </a:xfrm>
            <a:custGeom>
              <a:avLst/>
              <a:gdLst>
                <a:gd name="connsiteX0" fmla="*/ 0 w 4669459"/>
                <a:gd name="connsiteY0" fmla="*/ 0 h 1098357"/>
                <a:gd name="connsiteX1" fmla="*/ 393099 w 4669459"/>
                <a:gd name="connsiteY1" fmla="*/ 0 h 1098357"/>
                <a:gd name="connsiteX2" fmla="*/ 485580 w 4669459"/>
                <a:gd name="connsiteY2" fmla="*/ 28411 h 1098357"/>
                <a:gd name="connsiteX3" fmla="*/ 2241464 w 4669459"/>
                <a:gd name="connsiteY3" fmla="*/ 572540 h 1098357"/>
                <a:gd name="connsiteX4" fmla="*/ 4645823 w 4669459"/>
                <a:gd name="connsiteY4" fmla="*/ 731027 h 1098357"/>
                <a:gd name="connsiteX5" fmla="*/ 4669459 w 4669459"/>
                <a:gd name="connsiteY5" fmla="*/ 726784 h 1098357"/>
                <a:gd name="connsiteX6" fmla="*/ 4669459 w 4669459"/>
                <a:gd name="connsiteY6" fmla="*/ 1079503 h 1098357"/>
                <a:gd name="connsiteX7" fmla="*/ 4627787 w 4669459"/>
                <a:gd name="connsiteY7" fmla="*/ 1083679 h 1098357"/>
                <a:gd name="connsiteX8" fmla="*/ 568062 w 4669459"/>
                <a:gd name="connsiteY8" fmla="*/ 207626 h 1098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669459" h="1098357">
                  <a:moveTo>
                    <a:pt x="0" y="0"/>
                  </a:moveTo>
                  <a:lnTo>
                    <a:pt x="393099" y="0"/>
                  </a:lnTo>
                  <a:lnTo>
                    <a:pt x="485580" y="28411"/>
                  </a:lnTo>
                  <a:cubicBezTo>
                    <a:pt x="1068094" y="214503"/>
                    <a:pt x="1643165" y="412971"/>
                    <a:pt x="2241464" y="572540"/>
                  </a:cubicBezTo>
                  <a:cubicBezTo>
                    <a:pt x="3009808" y="777487"/>
                    <a:pt x="3848273" y="856360"/>
                    <a:pt x="4645823" y="731027"/>
                  </a:cubicBezTo>
                  <a:lnTo>
                    <a:pt x="4669459" y="726784"/>
                  </a:lnTo>
                  <a:lnTo>
                    <a:pt x="4669459" y="1079503"/>
                  </a:lnTo>
                  <a:lnTo>
                    <a:pt x="4627787" y="1083679"/>
                  </a:lnTo>
                  <a:cubicBezTo>
                    <a:pt x="3105555" y="1189027"/>
                    <a:pt x="1909512" y="709765"/>
                    <a:pt x="568062" y="207626"/>
                  </a:cubicBezTo>
                  <a:close/>
                </a:path>
              </a:pathLst>
            </a:custGeom>
            <a:gradFill flip="none" rotWithShape="1">
              <a:gsLst>
                <a:gs pos="0">
                  <a:schemeClr val="accent3">
                    <a:lumMod val="75000"/>
                  </a:schemeClr>
                </a:gs>
                <a:gs pos="40000">
                  <a:schemeClr val="accent3"/>
                </a:gs>
              </a:gsLst>
              <a:lin ang="0" scaled="0"/>
              <a:tileRect/>
            </a:gradFill>
            <a:ln w="3289" cap="flat">
              <a:noFill/>
              <a:prstDash val="solid"/>
              <a:miter/>
            </a:ln>
          </p:spPr>
          <p:txBody>
            <a:bodyPr rtlCol="0" anchor="ctr"/>
            <a:lstStyle/>
            <a:p>
              <a:endParaRPr lang="en-US"/>
            </a:p>
          </p:txBody>
        </p:sp>
        <p:sp>
          <p:nvSpPr>
            <p:cNvPr id="31" name="Freeform 30">
              <a:extLst>
                <a:ext uri="{FF2B5EF4-FFF2-40B4-BE49-F238E27FC236}">
                  <a16:creationId xmlns:a16="http://schemas.microsoft.com/office/drawing/2014/main" id="{67B75392-8779-2B46-8DA6-CC055372E224}"/>
                </a:ext>
              </a:extLst>
            </p:cNvPr>
            <p:cNvSpPr/>
            <p:nvPr userDrawn="1"/>
          </p:nvSpPr>
          <p:spPr>
            <a:xfrm>
              <a:off x="7649481" y="1"/>
              <a:ext cx="4542519" cy="983565"/>
            </a:xfrm>
            <a:custGeom>
              <a:avLst/>
              <a:gdLst>
                <a:gd name="connsiteX0" fmla="*/ 0 w 4542519"/>
                <a:gd name="connsiteY0" fmla="*/ 0 h 983565"/>
                <a:gd name="connsiteX1" fmla="*/ 4542519 w 4542519"/>
                <a:gd name="connsiteY1" fmla="*/ 0 h 983565"/>
                <a:gd name="connsiteX2" fmla="*/ 4542519 w 4542519"/>
                <a:gd name="connsiteY2" fmla="*/ 957397 h 983565"/>
                <a:gd name="connsiteX3" fmla="*/ 4542518 w 4542519"/>
                <a:gd name="connsiteY3" fmla="*/ 957403 h 983565"/>
                <a:gd name="connsiteX4" fmla="*/ 4510552 w 4542519"/>
                <a:gd name="connsiteY4" fmla="*/ 961138 h 983565"/>
                <a:gd name="connsiteX5" fmla="*/ 439600 w 4542519"/>
                <a:gd name="connsiteY5" fmla="*/ 152515 h 9835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42519" h="983565">
                  <a:moveTo>
                    <a:pt x="0" y="0"/>
                  </a:moveTo>
                  <a:lnTo>
                    <a:pt x="4542519" y="0"/>
                  </a:lnTo>
                  <a:lnTo>
                    <a:pt x="4542519" y="957397"/>
                  </a:lnTo>
                  <a:lnTo>
                    <a:pt x="4542518" y="957403"/>
                  </a:lnTo>
                  <a:lnTo>
                    <a:pt x="4510552" y="961138"/>
                  </a:lnTo>
                  <a:cubicBezTo>
                    <a:pt x="2991282" y="1091409"/>
                    <a:pt x="1788278" y="632191"/>
                    <a:pt x="439600" y="152515"/>
                  </a:cubicBezTo>
                  <a:close/>
                </a:path>
              </a:pathLst>
            </a:custGeom>
            <a:solidFill>
              <a:schemeClr val="accent1"/>
            </a:solidFill>
            <a:ln w="3289" cap="flat">
              <a:noFill/>
              <a:prstDash val="solid"/>
              <a:miter/>
            </a:ln>
          </p:spPr>
          <p:txBody>
            <a:bodyPr rtlCol="0" anchor="ctr"/>
            <a:lstStyle/>
            <a:p>
              <a:endParaRPr lang="en-US"/>
            </a:p>
          </p:txBody>
        </p:sp>
      </p:grpSp>
      <p:pic>
        <p:nvPicPr>
          <p:cNvPr id="29" name="Picture 28">
            <a:extLst>
              <a:ext uri="{FF2B5EF4-FFF2-40B4-BE49-F238E27FC236}">
                <a16:creationId xmlns:a16="http://schemas.microsoft.com/office/drawing/2014/main" id="{0F7B7F6A-87A0-4D46-948E-5CBC780A2B9F}"/>
              </a:ext>
            </a:extLst>
          </p:cNvPr>
          <p:cNvPicPr>
            <a:picLocks noChangeAspect="1"/>
          </p:cNvPicPr>
          <p:nvPr userDrawn="1"/>
        </p:nvPicPr>
        <p:blipFill>
          <a:blip r:embed="rId2"/>
          <a:stretch>
            <a:fillRect/>
          </a:stretch>
        </p:blipFill>
        <p:spPr>
          <a:xfrm>
            <a:off x="513348" y="136525"/>
            <a:ext cx="1945206" cy="879974"/>
          </a:xfrm>
          <a:prstGeom prst="rect">
            <a:avLst/>
          </a:prstGeom>
        </p:spPr>
      </p:pic>
    </p:spTree>
    <p:extLst>
      <p:ext uri="{BB962C8B-B14F-4D97-AF65-F5344CB8AC3E}">
        <p14:creationId xmlns:p14="http://schemas.microsoft.com/office/powerpoint/2010/main" val="42395995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363080175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70986876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99815754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242240126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31459978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9133740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075216660"/>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7627243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69300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48014011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105978153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type="obj" preserve="1">
  <p:cSld name="Title Slide">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F3F6FA"/>
          </a:solidFill>
        </p:spPr>
        <p:txBody>
          <a:bodyPr wrap="square" lIns="0" tIns="0" rIns="0" bIns="0" rtlCol="0"/>
          <a:lstStyle/>
          <a:p>
            <a:endParaRPr/>
          </a:p>
        </p:txBody>
      </p:sp>
      <p:sp>
        <p:nvSpPr>
          <p:cNvPr id="17" name="bg object 17"/>
          <p:cNvSpPr/>
          <p:nvPr/>
        </p:nvSpPr>
        <p:spPr>
          <a:xfrm>
            <a:off x="2" y="5100849"/>
            <a:ext cx="7111365" cy="1757680"/>
          </a:xfrm>
          <a:custGeom>
            <a:avLst/>
            <a:gdLst/>
            <a:ahLst/>
            <a:cxnLst/>
            <a:rect l="l" t="t" r="r" b="b"/>
            <a:pathLst>
              <a:path w="7111365" h="1757679">
                <a:moveTo>
                  <a:pt x="612238" y="72"/>
                </a:moveTo>
                <a:lnTo>
                  <a:pt x="558414" y="0"/>
                </a:lnTo>
                <a:lnTo>
                  <a:pt x="504455" y="346"/>
                </a:lnTo>
                <a:lnTo>
                  <a:pt x="450360" y="1116"/>
                </a:lnTo>
                <a:lnTo>
                  <a:pt x="396127" y="2315"/>
                </a:lnTo>
                <a:lnTo>
                  <a:pt x="341757" y="3949"/>
                </a:lnTo>
                <a:lnTo>
                  <a:pt x="292962" y="5809"/>
                </a:lnTo>
                <a:lnTo>
                  <a:pt x="244267" y="8061"/>
                </a:lnTo>
                <a:lnTo>
                  <a:pt x="195669" y="10711"/>
                </a:lnTo>
                <a:lnTo>
                  <a:pt x="147165" y="13764"/>
                </a:lnTo>
                <a:lnTo>
                  <a:pt x="98753" y="17223"/>
                </a:lnTo>
                <a:lnTo>
                  <a:pt x="50431" y="21096"/>
                </a:lnTo>
                <a:lnTo>
                  <a:pt x="0" y="25666"/>
                </a:lnTo>
                <a:lnTo>
                  <a:pt x="0" y="1757146"/>
                </a:lnTo>
                <a:lnTo>
                  <a:pt x="7110983" y="1757146"/>
                </a:lnTo>
                <a:lnTo>
                  <a:pt x="6700405" y="1636344"/>
                </a:lnTo>
                <a:lnTo>
                  <a:pt x="6607186" y="1607300"/>
                </a:lnTo>
                <a:lnTo>
                  <a:pt x="6467358" y="1562910"/>
                </a:lnTo>
                <a:lnTo>
                  <a:pt x="6327483" y="1517588"/>
                </a:lnTo>
                <a:lnTo>
                  <a:pt x="6187509" y="1471399"/>
                </a:lnTo>
                <a:lnTo>
                  <a:pt x="6000630" y="1408578"/>
                </a:lnTo>
                <a:lnTo>
                  <a:pt x="5766459" y="1328280"/>
                </a:lnTo>
                <a:lnTo>
                  <a:pt x="5484294" y="1229723"/>
                </a:lnTo>
                <a:lnTo>
                  <a:pt x="4285873" y="804446"/>
                </a:lnTo>
                <a:lnTo>
                  <a:pt x="3990553" y="701631"/>
                </a:lnTo>
                <a:lnTo>
                  <a:pt x="3741532" y="616526"/>
                </a:lnTo>
                <a:lnTo>
                  <a:pt x="3543643" y="550199"/>
                </a:lnTo>
                <a:lnTo>
                  <a:pt x="3449272" y="519263"/>
                </a:lnTo>
                <a:lnTo>
                  <a:pt x="3354639" y="488840"/>
                </a:lnTo>
                <a:lnTo>
                  <a:pt x="3259736" y="458969"/>
                </a:lnTo>
                <a:lnTo>
                  <a:pt x="3164554" y="429687"/>
                </a:lnTo>
                <a:lnTo>
                  <a:pt x="3069083" y="401033"/>
                </a:lnTo>
                <a:lnTo>
                  <a:pt x="2973315" y="373045"/>
                </a:lnTo>
                <a:lnTo>
                  <a:pt x="2877241" y="345760"/>
                </a:lnTo>
                <a:lnTo>
                  <a:pt x="2780851" y="319217"/>
                </a:lnTo>
                <a:lnTo>
                  <a:pt x="2684137" y="293454"/>
                </a:lnTo>
                <a:lnTo>
                  <a:pt x="2587089" y="268509"/>
                </a:lnTo>
                <a:lnTo>
                  <a:pt x="2489699" y="244419"/>
                </a:lnTo>
                <a:lnTo>
                  <a:pt x="2391957" y="221224"/>
                </a:lnTo>
                <a:lnTo>
                  <a:pt x="2293855" y="198961"/>
                </a:lnTo>
                <a:lnTo>
                  <a:pt x="2244665" y="188191"/>
                </a:lnTo>
                <a:lnTo>
                  <a:pt x="2195383" y="177668"/>
                </a:lnTo>
                <a:lnTo>
                  <a:pt x="2146005" y="167398"/>
                </a:lnTo>
                <a:lnTo>
                  <a:pt x="2096532" y="157384"/>
                </a:lnTo>
                <a:lnTo>
                  <a:pt x="2046962" y="147632"/>
                </a:lnTo>
                <a:lnTo>
                  <a:pt x="1997294" y="138146"/>
                </a:lnTo>
                <a:lnTo>
                  <a:pt x="1947526" y="128931"/>
                </a:lnTo>
                <a:lnTo>
                  <a:pt x="1897659" y="119992"/>
                </a:lnTo>
                <a:lnTo>
                  <a:pt x="1847690" y="111333"/>
                </a:lnTo>
                <a:lnTo>
                  <a:pt x="1797618" y="102960"/>
                </a:lnTo>
                <a:lnTo>
                  <a:pt x="1747443" y="94877"/>
                </a:lnTo>
                <a:lnTo>
                  <a:pt x="1697163" y="87089"/>
                </a:lnTo>
                <a:lnTo>
                  <a:pt x="1646777" y="79601"/>
                </a:lnTo>
                <a:lnTo>
                  <a:pt x="1596283" y="72417"/>
                </a:lnTo>
                <a:lnTo>
                  <a:pt x="1545682" y="65542"/>
                </a:lnTo>
                <a:lnTo>
                  <a:pt x="1494971" y="58981"/>
                </a:lnTo>
                <a:lnTo>
                  <a:pt x="1444150" y="52739"/>
                </a:lnTo>
                <a:lnTo>
                  <a:pt x="1393217" y="46821"/>
                </a:lnTo>
                <a:lnTo>
                  <a:pt x="1342172" y="41230"/>
                </a:lnTo>
                <a:lnTo>
                  <a:pt x="1291013" y="35972"/>
                </a:lnTo>
                <a:lnTo>
                  <a:pt x="1239738" y="31052"/>
                </a:lnTo>
                <a:lnTo>
                  <a:pt x="1188348" y="26475"/>
                </a:lnTo>
                <a:lnTo>
                  <a:pt x="1136840" y="22245"/>
                </a:lnTo>
                <a:lnTo>
                  <a:pt x="1085214" y="18367"/>
                </a:lnTo>
                <a:lnTo>
                  <a:pt x="1033469" y="14845"/>
                </a:lnTo>
                <a:lnTo>
                  <a:pt x="981602" y="11685"/>
                </a:lnTo>
                <a:lnTo>
                  <a:pt x="929614" y="8891"/>
                </a:lnTo>
                <a:lnTo>
                  <a:pt x="877504" y="6469"/>
                </a:lnTo>
                <a:lnTo>
                  <a:pt x="825269" y="4422"/>
                </a:lnTo>
                <a:lnTo>
                  <a:pt x="772909" y="2755"/>
                </a:lnTo>
                <a:lnTo>
                  <a:pt x="719484" y="1455"/>
                </a:lnTo>
                <a:lnTo>
                  <a:pt x="665927" y="559"/>
                </a:lnTo>
                <a:lnTo>
                  <a:pt x="612238" y="72"/>
                </a:lnTo>
                <a:close/>
              </a:path>
            </a:pathLst>
          </a:custGeom>
          <a:solidFill>
            <a:srgbClr val="FFFFFF"/>
          </a:solidFill>
        </p:spPr>
        <p:txBody>
          <a:bodyPr wrap="square" lIns="0" tIns="0" rIns="0" bIns="0" rtlCol="0"/>
          <a:lstStyle/>
          <a:p>
            <a:endParaRPr/>
          </a:p>
        </p:txBody>
      </p:sp>
      <p:pic>
        <p:nvPicPr>
          <p:cNvPr id="18" name="bg object 18"/>
          <p:cNvPicPr/>
          <p:nvPr/>
        </p:nvPicPr>
        <p:blipFill>
          <a:blip r:embed="rId2" cstate="email">
            <a:extLst>
              <a:ext uri="{28A0092B-C50C-407E-A947-70E740481C1C}">
                <a14:useLocalDpi xmlns:a14="http://schemas.microsoft.com/office/drawing/2010/main"/>
              </a:ext>
            </a:extLst>
          </a:blip>
          <a:stretch>
            <a:fillRect/>
          </a:stretch>
        </p:blipFill>
        <p:spPr>
          <a:xfrm>
            <a:off x="0" y="5041899"/>
            <a:ext cx="12192000" cy="1816100"/>
          </a:xfrm>
          <a:prstGeom prst="rect">
            <a:avLst/>
          </a:prstGeom>
        </p:spPr>
      </p:pic>
      <p:sp>
        <p:nvSpPr>
          <p:cNvPr id="19" name="bg object 19"/>
          <p:cNvSpPr/>
          <p:nvPr/>
        </p:nvSpPr>
        <p:spPr>
          <a:xfrm>
            <a:off x="1" y="5020055"/>
            <a:ext cx="12192000" cy="1838325"/>
          </a:xfrm>
          <a:custGeom>
            <a:avLst/>
            <a:gdLst/>
            <a:ahLst/>
            <a:cxnLst/>
            <a:rect l="l" t="t" r="r" b="b"/>
            <a:pathLst>
              <a:path w="12192000" h="1838325">
                <a:moveTo>
                  <a:pt x="682693" y="0"/>
                </a:moveTo>
                <a:lnTo>
                  <a:pt x="631977" y="191"/>
                </a:lnTo>
                <a:lnTo>
                  <a:pt x="584149" y="737"/>
                </a:lnTo>
                <a:lnTo>
                  <a:pt x="536385" y="1641"/>
                </a:lnTo>
                <a:lnTo>
                  <a:pt x="488688" y="2908"/>
                </a:lnTo>
                <a:lnTo>
                  <a:pt x="441056" y="4541"/>
                </a:lnTo>
                <a:lnTo>
                  <a:pt x="393493" y="6547"/>
                </a:lnTo>
                <a:lnTo>
                  <a:pt x="345998" y="8929"/>
                </a:lnTo>
                <a:lnTo>
                  <a:pt x="0" y="38164"/>
                </a:lnTo>
                <a:lnTo>
                  <a:pt x="0" y="105627"/>
                </a:lnTo>
                <a:lnTo>
                  <a:pt x="50435" y="101057"/>
                </a:lnTo>
                <a:lnTo>
                  <a:pt x="98761" y="97184"/>
                </a:lnTo>
                <a:lnTo>
                  <a:pt x="147175" y="93724"/>
                </a:lnTo>
                <a:lnTo>
                  <a:pt x="195680" y="90672"/>
                </a:lnTo>
                <a:lnTo>
                  <a:pt x="244280" y="88022"/>
                </a:lnTo>
                <a:lnTo>
                  <a:pt x="292975" y="85770"/>
                </a:lnTo>
                <a:lnTo>
                  <a:pt x="341769" y="83910"/>
                </a:lnTo>
                <a:lnTo>
                  <a:pt x="394500" y="82318"/>
                </a:lnTo>
                <a:lnTo>
                  <a:pt x="447099" y="81134"/>
                </a:lnTo>
                <a:lnTo>
                  <a:pt x="499569" y="80355"/>
                </a:lnTo>
                <a:lnTo>
                  <a:pt x="551910" y="79975"/>
                </a:lnTo>
                <a:lnTo>
                  <a:pt x="604123" y="79990"/>
                </a:lnTo>
                <a:lnTo>
                  <a:pt x="656210" y="80395"/>
                </a:lnTo>
                <a:lnTo>
                  <a:pt x="708172" y="81187"/>
                </a:lnTo>
                <a:lnTo>
                  <a:pt x="760009" y="82360"/>
                </a:lnTo>
                <a:lnTo>
                  <a:pt x="811723" y="83909"/>
                </a:lnTo>
                <a:lnTo>
                  <a:pt x="863315" y="85830"/>
                </a:lnTo>
                <a:lnTo>
                  <a:pt x="914785" y="88119"/>
                </a:lnTo>
                <a:lnTo>
                  <a:pt x="966136" y="90771"/>
                </a:lnTo>
                <a:lnTo>
                  <a:pt x="1017368" y="93782"/>
                </a:lnTo>
                <a:lnTo>
                  <a:pt x="1068481" y="97146"/>
                </a:lnTo>
                <a:lnTo>
                  <a:pt x="1119478" y="100859"/>
                </a:lnTo>
                <a:lnTo>
                  <a:pt x="1170360" y="104917"/>
                </a:lnTo>
                <a:lnTo>
                  <a:pt x="1221127" y="109315"/>
                </a:lnTo>
                <a:lnTo>
                  <a:pt x="1271780" y="114049"/>
                </a:lnTo>
                <a:lnTo>
                  <a:pt x="1322321" y="119113"/>
                </a:lnTo>
                <a:lnTo>
                  <a:pt x="1372750" y="124504"/>
                </a:lnTo>
                <a:lnTo>
                  <a:pt x="1423070" y="130217"/>
                </a:lnTo>
                <a:lnTo>
                  <a:pt x="1473280" y="136247"/>
                </a:lnTo>
                <a:lnTo>
                  <a:pt x="1523382" y="142589"/>
                </a:lnTo>
                <a:lnTo>
                  <a:pt x="1573377" y="149239"/>
                </a:lnTo>
                <a:lnTo>
                  <a:pt x="1623266" y="156193"/>
                </a:lnTo>
                <a:lnTo>
                  <a:pt x="1673051" y="163446"/>
                </a:lnTo>
                <a:lnTo>
                  <a:pt x="1722731" y="170993"/>
                </a:lnTo>
                <a:lnTo>
                  <a:pt x="1772309" y="178830"/>
                </a:lnTo>
                <a:lnTo>
                  <a:pt x="1821786" y="186951"/>
                </a:lnTo>
                <a:lnTo>
                  <a:pt x="1871162" y="195354"/>
                </a:lnTo>
                <a:lnTo>
                  <a:pt x="1920438" y="204032"/>
                </a:lnTo>
                <a:lnTo>
                  <a:pt x="1969617" y="212982"/>
                </a:lnTo>
                <a:lnTo>
                  <a:pt x="2018698" y="222199"/>
                </a:lnTo>
                <a:lnTo>
                  <a:pt x="2067683" y="231677"/>
                </a:lnTo>
                <a:lnTo>
                  <a:pt x="2116573" y="241414"/>
                </a:lnTo>
                <a:lnTo>
                  <a:pt x="2165369" y="251404"/>
                </a:lnTo>
                <a:lnTo>
                  <a:pt x="2214072" y="261642"/>
                </a:lnTo>
                <a:lnTo>
                  <a:pt x="2262683" y="272124"/>
                </a:lnTo>
                <a:lnTo>
                  <a:pt x="2359634" y="293801"/>
                </a:lnTo>
                <a:lnTo>
                  <a:pt x="2456232" y="316400"/>
                </a:lnTo>
                <a:lnTo>
                  <a:pt x="2552484" y="339883"/>
                </a:lnTo>
                <a:lnTo>
                  <a:pt x="2648399" y="364213"/>
                </a:lnTo>
                <a:lnTo>
                  <a:pt x="2743986" y="389354"/>
                </a:lnTo>
                <a:lnTo>
                  <a:pt x="2839253" y="415270"/>
                </a:lnTo>
                <a:lnTo>
                  <a:pt x="2934210" y="441923"/>
                </a:lnTo>
                <a:lnTo>
                  <a:pt x="3028865" y="469277"/>
                </a:lnTo>
                <a:lnTo>
                  <a:pt x="3123226" y="497296"/>
                </a:lnTo>
                <a:lnTo>
                  <a:pt x="3217303" y="525943"/>
                </a:lnTo>
                <a:lnTo>
                  <a:pt x="3311104" y="555181"/>
                </a:lnTo>
                <a:lnTo>
                  <a:pt x="3404637" y="584973"/>
                </a:lnTo>
                <a:lnTo>
                  <a:pt x="3497912" y="615284"/>
                </a:lnTo>
                <a:lnTo>
                  <a:pt x="3590937" y="646075"/>
                </a:lnTo>
                <a:lnTo>
                  <a:pt x="3791774" y="713748"/>
                </a:lnTo>
                <a:lnTo>
                  <a:pt x="4040254" y="799025"/>
                </a:lnTo>
                <a:lnTo>
                  <a:pt x="4334988" y="901968"/>
                </a:lnTo>
                <a:lnTo>
                  <a:pt x="5625866" y="1359840"/>
                </a:lnTo>
                <a:lnTo>
                  <a:pt x="5907371" y="1457295"/>
                </a:lnTo>
                <a:lnTo>
                  <a:pt x="6094441" y="1520802"/>
                </a:lnTo>
                <a:lnTo>
                  <a:pt x="6281177" y="1582959"/>
                </a:lnTo>
                <a:lnTo>
                  <a:pt x="6421085" y="1628599"/>
                </a:lnTo>
                <a:lnTo>
                  <a:pt x="6560929" y="1673327"/>
                </a:lnTo>
                <a:lnTo>
                  <a:pt x="6700761" y="1717079"/>
                </a:lnTo>
                <a:lnTo>
                  <a:pt x="7111365" y="1837945"/>
                </a:lnTo>
                <a:lnTo>
                  <a:pt x="12192000" y="1837945"/>
                </a:lnTo>
                <a:lnTo>
                  <a:pt x="12192000" y="1008838"/>
                </a:lnTo>
                <a:lnTo>
                  <a:pt x="12147976" y="1027873"/>
                </a:lnTo>
                <a:lnTo>
                  <a:pt x="12103695" y="1046580"/>
                </a:lnTo>
                <a:lnTo>
                  <a:pt x="12059162" y="1064960"/>
                </a:lnTo>
                <a:lnTo>
                  <a:pt x="12014382" y="1083015"/>
                </a:lnTo>
                <a:lnTo>
                  <a:pt x="11969360" y="1100744"/>
                </a:lnTo>
                <a:lnTo>
                  <a:pt x="11924100" y="1118147"/>
                </a:lnTo>
                <a:lnTo>
                  <a:pt x="11878609" y="1135227"/>
                </a:lnTo>
                <a:lnTo>
                  <a:pt x="11832891" y="1151982"/>
                </a:lnTo>
                <a:lnTo>
                  <a:pt x="11786951" y="1168414"/>
                </a:lnTo>
                <a:lnTo>
                  <a:pt x="11740793" y="1184523"/>
                </a:lnTo>
                <a:lnTo>
                  <a:pt x="11694424" y="1200309"/>
                </a:lnTo>
                <a:lnTo>
                  <a:pt x="11647847" y="1215774"/>
                </a:lnTo>
                <a:lnTo>
                  <a:pt x="11601068" y="1230917"/>
                </a:lnTo>
                <a:lnTo>
                  <a:pt x="11554093" y="1245740"/>
                </a:lnTo>
                <a:lnTo>
                  <a:pt x="11506925" y="1260242"/>
                </a:lnTo>
                <a:lnTo>
                  <a:pt x="11459569" y="1274425"/>
                </a:lnTo>
                <a:lnTo>
                  <a:pt x="11412032" y="1288288"/>
                </a:lnTo>
                <a:lnTo>
                  <a:pt x="11364318" y="1301833"/>
                </a:lnTo>
                <a:lnTo>
                  <a:pt x="11316431" y="1315060"/>
                </a:lnTo>
                <a:lnTo>
                  <a:pt x="11268377" y="1327969"/>
                </a:lnTo>
                <a:lnTo>
                  <a:pt x="11220161" y="1340561"/>
                </a:lnTo>
                <a:lnTo>
                  <a:pt x="11171788" y="1352836"/>
                </a:lnTo>
                <a:lnTo>
                  <a:pt x="11123263" y="1364796"/>
                </a:lnTo>
                <a:lnTo>
                  <a:pt x="11074590" y="1376440"/>
                </a:lnTo>
                <a:lnTo>
                  <a:pt x="11025776" y="1387769"/>
                </a:lnTo>
                <a:lnTo>
                  <a:pt x="10976824" y="1398783"/>
                </a:lnTo>
                <a:lnTo>
                  <a:pt x="10927740" y="1409484"/>
                </a:lnTo>
                <a:lnTo>
                  <a:pt x="10878528" y="1419872"/>
                </a:lnTo>
                <a:lnTo>
                  <a:pt x="10829194" y="1429946"/>
                </a:lnTo>
                <a:lnTo>
                  <a:pt x="10779744" y="1439709"/>
                </a:lnTo>
                <a:lnTo>
                  <a:pt x="10730180" y="1449159"/>
                </a:lnTo>
                <a:lnTo>
                  <a:pt x="10680510" y="1458299"/>
                </a:lnTo>
                <a:lnTo>
                  <a:pt x="10630737" y="1467128"/>
                </a:lnTo>
                <a:lnTo>
                  <a:pt x="10580867" y="1475646"/>
                </a:lnTo>
                <a:lnTo>
                  <a:pt x="10530905" y="1483856"/>
                </a:lnTo>
                <a:lnTo>
                  <a:pt x="10480855" y="1491756"/>
                </a:lnTo>
                <a:lnTo>
                  <a:pt x="10430723" y="1499347"/>
                </a:lnTo>
                <a:lnTo>
                  <a:pt x="10380514" y="1506631"/>
                </a:lnTo>
                <a:lnTo>
                  <a:pt x="10330232" y="1513607"/>
                </a:lnTo>
                <a:lnTo>
                  <a:pt x="10279883" y="1520276"/>
                </a:lnTo>
                <a:lnTo>
                  <a:pt x="10229472" y="1526638"/>
                </a:lnTo>
                <a:lnTo>
                  <a:pt x="10179004" y="1532695"/>
                </a:lnTo>
                <a:lnTo>
                  <a:pt x="10128483" y="1538447"/>
                </a:lnTo>
                <a:lnTo>
                  <a:pt x="10077914" y="1543893"/>
                </a:lnTo>
                <a:lnTo>
                  <a:pt x="10027304" y="1549036"/>
                </a:lnTo>
                <a:lnTo>
                  <a:pt x="9976655" y="1553875"/>
                </a:lnTo>
                <a:lnTo>
                  <a:pt x="9925975" y="1558410"/>
                </a:lnTo>
                <a:lnTo>
                  <a:pt x="9875267" y="1562643"/>
                </a:lnTo>
                <a:lnTo>
                  <a:pt x="9824537" y="1566574"/>
                </a:lnTo>
                <a:lnTo>
                  <a:pt x="9773789" y="1570203"/>
                </a:lnTo>
                <a:lnTo>
                  <a:pt x="9723029" y="1573531"/>
                </a:lnTo>
                <a:lnTo>
                  <a:pt x="9672261" y="1576558"/>
                </a:lnTo>
                <a:lnTo>
                  <a:pt x="9621491" y="1579285"/>
                </a:lnTo>
                <a:lnTo>
                  <a:pt x="9570724" y="1581713"/>
                </a:lnTo>
                <a:lnTo>
                  <a:pt x="9519964" y="1583842"/>
                </a:lnTo>
                <a:lnTo>
                  <a:pt x="9469216" y="1585673"/>
                </a:lnTo>
                <a:lnTo>
                  <a:pt x="9418487" y="1587206"/>
                </a:lnTo>
                <a:lnTo>
                  <a:pt x="9367779" y="1588441"/>
                </a:lnTo>
                <a:lnTo>
                  <a:pt x="9317099" y="1589380"/>
                </a:lnTo>
                <a:lnTo>
                  <a:pt x="9266452" y="1590022"/>
                </a:lnTo>
                <a:lnTo>
                  <a:pt x="9215842" y="1590369"/>
                </a:lnTo>
                <a:lnTo>
                  <a:pt x="9165275" y="1590420"/>
                </a:lnTo>
                <a:lnTo>
                  <a:pt x="9114755" y="1590177"/>
                </a:lnTo>
                <a:lnTo>
                  <a:pt x="9064287" y="1589639"/>
                </a:lnTo>
                <a:lnTo>
                  <a:pt x="9013877" y="1588808"/>
                </a:lnTo>
                <a:lnTo>
                  <a:pt x="8963530" y="1587684"/>
                </a:lnTo>
                <a:lnTo>
                  <a:pt x="8913250" y="1586267"/>
                </a:lnTo>
                <a:lnTo>
                  <a:pt x="8863042" y="1584559"/>
                </a:lnTo>
                <a:lnTo>
                  <a:pt x="8812912" y="1582559"/>
                </a:lnTo>
                <a:lnTo>
                  <a:pt x="8762864" y="1580267"/>
                </a:lnTo>
                <a:lnTo>
                  <a:pt x="8712904" y="1577686"/>
                </a:lnTo>
                <a:lnTo>
                  <a:pt x="8663036" y="1574814"/>
                </a:lnTo>
                <a:lnTo>
                  <a:pt x="8613265" y="1571654"/>
                </a:lnTo>
                <a:lnTo>
                  <a:pt x="8563597" y="1568204"/>
                </a:lnTo>
                <a:lnTo>
                  <a:pt x="8514036" y="1564466"/>
                </a:lnTo>
                <a:lnTo>
                  <a:pt x="8464588" y="1560440"/>
                </a:lnTo>
                <a:lnTo>
                  <a:pt x="8415256" y="1556128"/>
                </a:lnTo>
                <a:lnTo>
                  <a:pt x="8366048" y="1551528"/>
                </a:lnTo>
                <a:lnTo>
                  <a:pt x="8316966" y="1546642"/>
                </a:lnTo>
                <a:lnTo>
                  <a:pt x="8268017" y="1541471"/>
                </a:lnTo>
                <a:lnTo>
                  <a:pt x="8219205" y="1536015"/>
                </a:lnTo>
                <a:lnTo>
                  <a:pt x="8170536" y="1530274"/>
                </a:lnTo>
                <a:lnTo>
                  <a:pt x="8122014" y="1524249"/>
                </a:lnTo>
                <a:lnTo>
                  <a:pt x="8073644" y="1517940"/>
                </a:lnTo>
                <a:lnTo>
                  <a:pt x="8025431" y="1511349"/>
                </a:lnTo>
                <a:lnTo>
                  <a:pt x="7977381" y="1504475"/>
                </a:lnTo>
                <a:lnTo>
                  <a:pt x="7929498" y="1497319"/>
                </a:lnTo>
                <a:lnTo>
                  <a:pt x="7881788" y="1489882"/>
                </a:lnTo>
                <a:lnTo>
                  <a:pt x="7834254" y="1482164"/>
                </a:lnTo>
                <a:lnTo>
                  <a:pt x="7786903" y="1474166"/>
                </a:lnTo>
                <a:lnTo>
                  <a:pt x="7738126" y="1465660"/>
                </a:lnTo>
                <a:lnTo>
                  <a:pt x="7640491" y="1448021"/>
                </a:lnTo>
                <a:lnTo>
                  <a:pt x="7542751" y="1429573"/>
                </a:lnTo>
                <a:lnTo>
                  <a:pt x="7444910" y="1410348"/>
                </a:lnTo>
                <a:lnTo>
                  <a:pt x="7346973" y="1390379"/>
                </a:lnTo>
                <a:lnTo>
                  <a:pt x="7248943" y="1369697"/>
                </a:lnTo>
                <a:lnTo>
                  <a:pt x="7150826" y="1348335"/>
                </a:lnTo>
                <a:lnTo>
                  <a:pt x="7052624" y="1326325"/>
                </a:lnTo>
                <a:lnTo>
                  <a:pt x="6954344" y="1303699"/>
                </a:lnTo>
                <a:lnTo>
                  <a:pt x="6855988" y="1280488"/>
                </a:lnTo>
                <a:lnTo>
                  <a:pt x="6757561" y="1256726"/>
                </a:lnTo>
                <a:lnTo>
                  <a:pt x="6609797" y="1220118"/>
                </a:lnTo>
                <a:lnTo>
                  <a:pt x="6461898" y="1182449"/>
                </a:lnTo>
                <a:lnTo>
                  <a:pt x="6313878" y="1143828"/>
                </a:lnTo>
                <a:lnTo>
                  <a:pt x="6116354" y="1091037"/>
                </a:lnTo>
                <a:lnTo>
                  <a:pt x="5918674" y="1037003"/>
                </a:lnTo>
                <a:lnTo>
                  <a:pt x="5671408" y="968101"/>
                </a:lnTo>
                <a:lnTo>
                  <a:pt x="4632326" y="673191"/>
                </a:lnTo>
                <a:lnTo>
                  <a:pt x="4335739" y="590761"/>
                </a:lnTo>
                <a:lnTo>
                  <a:pt x="4138197" y="537088"/>
                </a:lnTo>
                <a:lnTo>
                  <a:pt x="3940841" y="484740"/>
                </a:lnTo>
                <a:lnTo>
                  <a:pt x="3792966" y="446503"/>
                </a:lnTo>
                <a:lnTo>
                  <a:pt x="3645230" y="409263"/>
                </a:lnTo>
                <a:lnTo>
                  <a:pt x="3497647" y="373130"/>
                </a:lnTo>
                <a:lnTo>
                  <a:pt x="3399350" y="349710"/>
                </a:lnTo>
                <a:lnTo>
                  <a:pt x="3301131" y="326862"/>
                </a:lnTo>
                <a:lnTo>
                  <a:pt x="3202995" y="304617"/>
                </a:lnTo>
                <a:lnTo>
                  <a:pt x="3104947" y="283009"/>
                </a:lnTo>
                <a:lnTo>
                  <a:pt x="3006989" y="262069"/>
                </a:lnTo>
                <a:lnTo>
                  <a:pt x="2909128" y="241830"/>
                </a:lnTo>
                <a:lnTo>
                  <a:pt x="2811366" y="222323"/>
                </a:lnTo>
                <a:lnTo>
                  <a:pt x="2713708" y="203581"/>
                </a:lnTo>
                <a:lnTo>
                  <a:pt x="2616159" y="185635"/>
                </a:lnTo>
                <a:lnTo>
                  <a:pt x="2518722" y="168518"/>
                </a:lnTo>
                <a:lnTo>
                  <a:pt x="2421402" y="152263"/>
                </a:lnTo>
                <a:lnTo>
                  <a:pt x="2324204" y="136900"/>
                </a:lnTo>
                <a:lnTo>
                  <a:pt x="2227131" y="122463"/>
                </a:lnTo>
                <a:lnTo>
                  <a:pt x="2130188" y="108983"/>
                </a:lnTo>
                <a:lnTo>
                  <a:pt x="2033378" y="96492"/>
                </a:lnTo>
                <a:lnTo>
                  <a:pt x="1936708" y="85023"/>
                </a:lnTo>
                <a:lnTo>
                  <a:pt x="1888425" y="79682"/>
                </a:lnTo>
                <a:lnTo>
                  <a:pt x="1840179" y="74608"/>
                </a:lnTo>
                <a:lnTo>
                  <a:pt x="1791970" y="69805"/>
                </a:lnTo>
                <a:lnTo>
                  <a:pt x="1743798" y="65278"/>
                </a:lnTo>
                <a:lnTo>
                  <a:pt x="1695663" y="61030"/>
                </a:lnTo>
                <a:lnTo>
                  <a:pt x="1647567" y="57066"/>
                </a:lnTo>
                <a:lnTo>
                  <a:pt x="1599510" y="53390"/>
                </a:lnTo>
                <a:lnTo>
                  <a:pt x="1551492" y="50004"/>
                </a:lnTo>
                <a:lnTo>
                  <a:pt x="1503514" y="46915"/>
                </a:lnTo>
                <a:lnTo>
                  <a:pt x="1451727" y="41426"/>
                </a:lnTo>
                <a:lnTo>
                  <a:pt x="1400000" y="36255"/>
                </a:lnTo>
                <a:lnTo>
                  <a:pt x="1348336" y="31407"/>
                </a:lnTo>
                <a:lnTo>
                  <a:pt x="1296735" y="26886"/>
                </a:lnTo>
                <a:lnTo>
                  <a:pt x="1245197" y="22697"/>
                </a:lnTo>
                <a:lnTo>
                  <a:pt x="1193723" y="18846"/>
                </a:lnTo>
                <a:lnTo>
                  <a:pt x="1142315" y="15337"/>
                </a:lnTo>
                <a:lnTo>
                  <a:pt x="1090973" y="12176"/>
                </a:lnTo>
                <a:lnTo>
                  <a:pt x="1039697" y="9368"/>
                </a:lnTo>
                <a:lnTo>
                  <a:pt x="988488" y="6917"/>
                </a:lnTo>
                <a:lnTo>
                  <a:pt x="937348" y="4828"/>
                </a:lnTo>
                <a:lnTo>
                  <a:pt x="886276" y="3107"/>
                </a:lnTo>
                <a:lnTo>
                  <a:pt x="835274" y="1759"/>
                </a:lnTo>
                <a:lnTo>
                  <a:pt x="784343" y="788"/>
                </a:lnTo>
                <a:lnTo>
                  <a:pt x="733482" y="200"/>
                </a:lnTo>
                <a:lnTo>
                  <a:pt x="682693" y="0"/>
                </a:lnTo>
                <a:close/>
              </a:path>
            </a:pathLst>
          </a:custGeom>
          <a:solidFill>
            <a:srgbClr val="1C488A"/>
          </a:solidFill>
        </p:spPr>
        <p:txBody>
          <a:bodyPr wrap="square" lIns="0" tIns="0" rIns="0" bIns="0" rtlCol="0"/>
          <a:lstStyle/>
          <a:p>
            <a:endParaRPr/>
          </a:p>
        </p:txBody>
      </p:sp>
      <p:pic>
        <p:nvPicPr>
          <p:cNvPr id="20" name="bg object 20"/>
          <p:cNvPicPr/>
          <p:nvPr/>
        </p:nvPicPr>
        <p:blipFill>
          <a:blip r:embed="rId3" cstate="print"/>
          <a:stretch>
            <a:fillRect/>
          </a:stretch>
        </p:blipFill>
        <p:spPr>
          <a:xfrm>
            <a:off x="313956" y="5564123"/>
            <a:ext cx="2025383" cy="911351"/>
          </a:xfrm>
          <a:prstGeom prst="rect">
            <a:avLst/>
          </a:prstGeom>
        </p:spPr>
      </p:pic>
      <p:sp>
        <p:nvSpPr>
          <p:cNvPr id="21" name="bg object 21"/>
          <p:cNvSpPr/>
          <p:nvPr/>
        </p:nvSpPr>
        <p:spPr>
          <a:xfrm>
            <a:off x="1520189" y="2812542"/>
            <a:ext cx="2286000" cy="0"/>
          </a:xfrm>
          <a:custGeom>
            <a:avLst/>
            <a:gdLst/>
            <a:ahLst/>
            <a:cxnLst/>
            <a:rect l="l" t="t" r="r" b="b"/>
            <a:pathLst>
              <a:path w="2286000">
                <a:moveTo>
                  <a:pt x="0" y="0"/>
                </a:moveTo>
                <a:lnTo>
                  <a:pt x="2286000" y="0"/>
                </a:lnTo>
              </a:path>
            </a:pathLst>
          </a:custGeom>
          <a:ln w="32004">
            <a:solidFill>
              <a:srgbClr val="F58366"/>
            </a:solidFill>
          </a:ln>
        </p:spPr>
        <p:txBody>
          <a:bodyPr wrap="square" lIns="0" tIns="0" rIns="0" bIns="0" rtlCol="0"/>
          <a:lstStyle/>
          <a:p>
            <a:endParaRPr/>
          </a:p>
        </p:txBody>
      </p:sp>
      <p:sp>
        <p:nvSpPr>
          <p:cNvPr id="2" name="Holder 2"/>
          <p:cNvSpPr>
            <a:spLocks noGrp="1"/>
          </p:cNvSpPr>
          <p:nvPr>
            <p:ph type="ctrTitle"/>
          </p:nvPr>
        </p:nvSpPr>
        <p:spPr>
          <a:xfrm>
            <a:off x="471690" y="493920"/>
            <a:ext cx="11248618" cy="574040"/>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2/26/2023</a:t>
            </a:fld>
            <a:endParaRPr lang="en-US"/>
          </a:p>
        </p:txBody>
      </p:sp>
      <p:sp>
        <p:nvSpPr>
          <p:cNvPr id="6" name="Holder 6"/>
          <p:cNvSpPr>
            <a:spLocks noGrp="1"/>
          </p:cNvSpPr>
          <p:nvPr>
            <p:ph type="sldNum" sz="quarter" idx="7"/>
          </p:nvPr>
        </p:nvSpPr>
        <p:spPr/>
        <p:txBody>
          <a:bodyPr lIns="0" tIns="0" rIns="0" bIns="0"/>
          <a:lstStyle>
            <a:lvl1pPr>
              <a:defRPr sz="1200" b="0" i="0">
                <a:solidFill>
                  <a:srgbClr val="AEB3B8"/>
                </a:solidFill>
                <a:latin typeface="Arial"/>
                <a:cs typeface="Arial"/>
              </a:defRPr>
            </a:lvl1pPr>
          </a:lstStyle>
          <a:p>
            <a:pPr marL="38100">
              <a:lnSpc>
                <a:spcPts val="1425"/>
              </a:lnSpc>
            </a:pPr>
            <a:fld id="{81D60167-4931-47E6-BA6A-407CBD079E47}" type="slidenum">
              <a:rPr spc="-5" dirty="0">
                <a:solidFill>
                  <a:srgbClr val="929599"/>
                </a:solidFill>
              </a:rPr>
              <a:t>‹#›</a:t>
            </a:fld>
            <a:endParaRPr spc="-5">
              <a:solidFill>
                <a:srgbClr val="929599"/>
              </a:solidFill>
            </a:endParaRPr>
          </a:p>
        </p:txBody>
      </p:sp>
    </p:spTree>
    <p:extLst>
      <p:ext uri="{BB962C8B-B14F-4D97-AF65-F5344CB8AC3E}">
        <p14:creationId xmlns:p14="http://schemas.microsoft.com/office/powerpoint/2010/main" val="165790422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obj" preserve="1">
  <p:cSld name="2_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3082224325"/>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140714946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print">
            <a:extLst>
              <a:ext uri="{28A0092B-C50C-407E-A947-70E740481C1C}">
                <a14:useLocalDpi xmlns:a14="http://schemas.microsoft.com/office/drawing/2010/main" val="0"/>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379168218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2D9A6F3B-C34E-6A49-A4DF-7F791974B589}"/>
              </a:ext>
            </a:extLst>
          </p:cNvPr>
          <p:cNvSpPr/>
          <p:nvPr userDrawn="1"/>
        </p:nvSpPr>
        <p:spPr>
          <a:xfrm>
            <a:off x="902368" y="1294413"/>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Title 1">
            <a:extLst>
              <a:ext uri="{FF2B5EF4-FFF2-40B4-BE49-F238E27FC236}">
                <a16:creationId xmlns:a16="http://schemas.microsoft.com/office/drawing/2014/main" id="{ED34E941-7BF0-CC44-B1FC-290810DB0B30}"/>
              </a:ext>
            </a:extLst>
          </p:cNvPr>
          <p:cNvSpPr>
            <a:spLocks noGrp="1"/>
          </p:cNvSpPr>
          <p:nvPr>
            <p:ph type="ctrTitle"/>
          </p:nvPr>
        </p:nvSpPr>
        <p:spPr>
          <a:xfrm>
            <a:off x="1413310" y="1561331"/>
            <a:ext cx="5194433" cy="1826339"/>
          </a:xfrm>
        </p:spPr>
        <p:txBody>
          <a:bodyPr anchor="b">
            <a:noAutofit/>
          </a:bodyPr>
          <a:lstStyle>
            <a:lvl1pPr algn="l">
              <a:defRPr sz="4000">
                <a:solidFill>
                  <a:schemeClr val="tx1"/>
                </a:solidFill>
              </a:defRPr>
            </a:lvl1pPr>
          </a:lstStyle>
          <a:p>
            <a:r>
              <a:rPr lang="en-US"/>
              <a:t>Click to edit Master title style</a:t>
            </a:r>
          </a:p>
        </p:txBody>
      </p:sp>
      <p:sp>
        <p:nvSpPr>
          <p:cNvPr id="16" name="Subtitle 2">
            <a:extLst>
              <a:ext uri="{FF2B5EF4-FFF2-40B4-BE49-F238E27FC236}">
                <a16:creationId xmlns:a16="http://schemas.microsoft.com/office/drawing/2014/main" id="{44FE5CAA-8276-BB47-A6BE-E7BCEDF46632}"/>
              </a:ext>
            </a:extLst>
          </p:cNvPr>
          <p:cNvSpPr>
            <a:spLocks noGrp="1"/>
          </p:cNvSpPr>
          <p:nvPr>
            <p:ph type="subTitle" idx="1"/>
          </p:nvPr>
        </p:nvSpPr>
        <p:spPr>
          <a:xfrm>
            <a:off x="1413310" y="3766862"/>
            <a:ext cx="5194433"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22" name="Picture Placeholder 21">
            <a:extLst>
              <a:ext uri="{FF2B5EF4-FFF2-40B4-BE49-F238E27FC236}">
                <a16:creationId xmlns:a16="http://schemas.microsoft.com/office/drawing/2014/main" id="{E6149CFD-A991-6645-B261-9B7968C49A5A}"/>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grpSp>
        <p:nvGrpSpPr>
          <p:cNvPr id="27" name="Group 26">
            <a:extLst>
              <a:ext uri="{FF2B5EF4-FFF2-40B4-BE49-F238E27FC236}">
                <a16:creationId xmlns:a16="http://schemas.microsoft.com/office/drawing/2014/main" id="{40D5A1B1-5A06-7449-9F8B-2AC619713D56}"/>
              </a:ext>
            </a:extLst>
          </p:cNvPr>
          <p:cNvGrpSpPr/>
          <p:nvPr userDrawn="1"/>
        </p:nvGrpSpPr>
        <p:grpSpPr>
          <a:xfrm>
            <a:off x="0" y="5020348"/>
            <a:ext cx="12192000" cy="1837653"/>
            <a:chOff x="0" y="5020348"/>
            <a:chExt cx="12192000" cy="1837653"/>
          </a:xfrm>
        </p:grpSpPr>
        <p:sp>
          <p:nvSpPr>
            <p:cNvPr id="28" name="Freeform 27">
              <a:extLst>
                <a:ext uri="{FF2B5EF4-FFF2-40B4-BE49-F238E27FC236}">
                  <a16:creationId xmlns:a16="http://schemas.microsoft.com/office/drawing/2014/main" id="{DC5DA7FC-1FE3-5B43-8327-D282FDD09C73}"/>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9" name="Freeform 28">
              <a:extLst>
                <a:ext uri="{FF2B5EF4-FFF2-40B4-BE49-F238E27FC236}">
                  <a16:creationId xmlns:a16="http://schemas.microsoft.com/office/drawing/2014/main" id="{A1F3840B-5D7E-874C-801B-092B1FEEA293}"/>
                </a:ext>
              </a:extLst>
            </p:cNvPr>
            <p:cNvSpPr/>
            <p:nvPr userDrawn="1"/>
          </p:nvSpPr>
          <p:spPr>
            <a:xfrm>
              <a:off x="0" y="5020348"/>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30" name="Picture 29">
              <a:extLst>
                <a:ext uri="{FF2B5EF4-FFF2-40B4-BE49-F238E27FC236}">
                  <a16:creationId xmlns:a16="http://schemas.microsoft.com/office/drawing/2014/main" id="{149A0B9A-A772-E642-AE7A-98E1DE49C3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Tree>
    <p:extLst>
      <p:ext uri="{BB962C8B-B14F-4D97-AF65-F5344CB8AC3E}">
        <p14:creationId xmlns:p14="http://schemas.microsoft.com/office/powerpoint/2010/main" val="983378057"/>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Divider">
    <p:bg>
      <p:bgPr>
        <a:solidFill>
          <a:schemeClr val="bg2"/>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DC3CD93-97E1-7841-BA56-F8F6C83C60A6}"/>
              </a:ext>
            </a:extLst>
          </p:cNvPr>
          <p:cNvGrpSpPr/>
          <p:nvPr userDrawn="1"/>
        </p:nvGrpSpPr>
        <p:grpSpPr>
          <a:xfrm>
            <a:off x="0" y="5020347"/>
            <a:ext cx="12192000" cy="1837653"/>
            <a:chOff x="0" y="5020347"/>
            <a:chExt cx="12192000" cy="1837653"/>
          </a:xfrm>
        </p:grpSpPr>
        <p:sp>
          <p:nvSpPr>
            <p:cNvPr id="26" name="Freeform 25">
              <a:extLst>
                <a:ext uri="{FF2B5EF4-FFF2-40B4-BE49-F238E27FC236}">
                  <a16:creationId xmlns:a16="http://schemas.microsoft.com/office/drawing/2014/main" id="{9182F98D-6C3C-644C-B1B6-12DCD5B674F4}"/>
                </a:ext>
              </a:extLst>
            </p:cNvPr>
            <p:cNvSpPr/>
            <p:nvPr userDrawn="1"/>
          </p:nvSpPr>
          <p:spPr>
            <a:xfrm>
              <a:off x="1" y="5100270"/>
              <a:ext cx="7111369" cy="1757730"/>
            </a:xfrm>
            <a:custGeom>
              <a:avLst/>
              <a:gdLst>
                <a:gd name="connsiteX0" fmla="*/ 772954 w 7111369"/>
                <a:gd name="connsiteY0" fmla="*/ 2778 h 1757730"/>
                <a:gd name="connsiteX1" fmla="*/ 3590934 w 7111369"/>
                <a:gd name="connsiteY1" fmla="*/ 566046 h 1757730"/>
                <a:gd name="connsiteX2" fmla="*/ 6700767 w 7111369"/>
                <a:gd name="connsiteY2" fmla="*/ 1636882 h 1757730"/>
                <a:gd name="connsiteX3" fmla="*/ 7111369 w 7111369"/>
                <a:gd name="connsiteY3" fmla="*/ 1757730 h 1757730"/>
                <a:gd name="connsiteX4" fmla="*/ 0 w 7111369"/>
                <a:gd name="connsiteY4" fmla="*/ 1757730 h 1757730"/>
                <a:gd name="connsiteX5" fmla="*/ 0 w 7111369"/>
                <a:gd name="connsiteY5" fmla="*/ 25690 h 1757730"/>
                <a:gd name="connsiteX6" fmla="*/ 2197 w 7111369"/>
                <a:gd name="connsiteY6" fmla="*/ 25414 h 1757730"/>
                <a:gd name="connsiteX7" fmla="*/ 341773 w 7111369"/>
                <a:gd name="connsiteY7" fmla="*/ 3976 h 1757730"/>
                <a:gd name="connsiteX8" fmla="*/ 772954 w 7111369"/>
                <a:gd name="connsiteY8" fmla="*/ 2778 h 17577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111369" h="1757730">
                  <a:moveTo>
                    <a:pt x="772954" y="2778"/>
                  </a:moveTo>
                  <a:cubicBezTo>
                    <a:pt x="1769038" y="30799"/>
                    <a:pt x="2696750" y="267531"/>
                    <a:pt x="3590934" y="566046"/>
                  </a:cubicBezTo>
                  <a:cubicBezTo>
                    <a:pt x="4684008" y="930921"/>
                    <a:pt x="5690778" y="1324625"/>
                    <a:pt x="6700767" y="1636882"/>
                  </a:cubicBezTo>
                  <a:lnTo>
                    <a:pt x="7111369" y="1757730"/>
                  </a:lnTo>
                  <a:lnTo>
                    <a:pt x="0" y="1757730"/>
                  </a:lnTo>
                  <a:lnTo>
                    <a:pt x="0" y="25690"/>
                  </a:lnTo>
                  <a:lnTo>
                    <a:pt x="2197" y="25414"/>
                  </a:lnTo>
                  <a:cubicBezTo>
                    <a:pt x="114653" y="14905"/>
                    <a:pt x="227801" y="7857"/>
                    <a:pt x="341773" y="3976"/>
                  </a:cubicBezTo>
                  <a:cubicBezTo>
                    <a:pt x="486963" y="-968"/>
                    <a:pt x="630656" y="-1224"/>
                    <a:pt x="772954" y="2778"/>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B3381D5F-A585-D64D-9E0F-E7BEB12BA5B8}"/>
                </a:ext>
              </a:extLst>
            </p:cNvPr>
            <p:cNvSpPr/>
            <p:nvPr userDrawn="1"/>
          </p:nvSpPr>
          <p:spPr>
            <a:xfrm>
              <a:off x="0" y="5038944"/>
              <a:ext cx="12192000" cy="1819056"/>
            </a:xfrm>
            <a:custGeom>
              <a:avLst/>
              <a:gdLst>
                <a:gd name="connsiteX0" fmla="*/ 12192000 w 12192000"/>
                <a:gd name="connsiteY0" fmla="*/ 1590347 h 1819056"/>
                <a:gd name="connsiteX1" fmla="*/ 12188220 w 12192000"/>
                <a:gd name="connsiteY1" fmla="*/ 1819056 h 1819056"/>
                <a:gd name="connsiteX2" fmla="*/ 11380834 w 12192000"/>
                <a:gd name="connsiteY2" fmla="*/ 1819056 h 1819056"/>
                <a:gd name="connsiteX3" fmla="*/ 11595183 w 12192000"/>
                <a:gd name="connsiteY3" fmla="*/ 1770580 h 1819056"/>
                <a:gd name="connsiteX4" fmla="*/ 12192000 w 12192000"/>
                <a:gd name="connsiteY4" fmla="*/ 1590347 h 1819056"/>
                <a:gd name="connsiteX5" fmla="*/ 758403 w 12192000"/>
                <a:gd name="connsiteY5" fmla="*/ 2043 h 1819056"/>
                <a:gd name="connsiteX6" fmla="*/ 3624304 w 12192000"/>
                <a:gd name="connsiteY6" fmla="*/ 526182 h 1819056"/>
                <a:gd name="connsiteX7" fmla="*/ 7255331 w 12192000"/>
                <a:gd name="connsiteY7" fmla="*/ 1648964 h 1819056"/>
                <a:gd name="connsiteX8" fmla="*/ 7859208 w 12192000"/>
                <a:gd name="connsiteY8" fmla="*/ 1790989 h 1819056"/>
                <a:gd name="connsiteX9" fmla="*/ 8008547 w 12192000"/>
                <a:gd name="connsiteY9" fmla="*/ 1819056 h 1819056"/>
                <a:gd name="connsiteX10" fmla="*/ 6697152 w 12192000"/>
                <a:gd name="connsiteY10" fmla="*/ 1819056 h 1819056"/>
                <a:gd name="connsiteX11" fmla="*/ 6692612 w 12192000"/>
                <a:gd name="connsiteY11" fmla="*/ 1817638 h 1819056"/>
                <a:gd name="connsiteX12" fmla="*/ 3598861 w 12192000"/>
                <a:gd name="connsiteY12" fmla="*/ 695028 h 1819056"/>
                <a:gd name="connsiteX13" fmla="*/ 357248 w 12192000"/>
                <a:gd name="connsiteY13" fmla="*/ 79163 h 1819056"/>
                <a:gd name="connsiteX14" fmla="*/ 17144 w 12192000"/>
                <a:gd name="connsiteY14" fmla="*/ 95022 h 1819056"/>
                <a:gd name="connsiteX15" fmla="*/ 0 w 12192000"/>
                <a:gd name="connsiteY15" fmla="*/ 96893 h 1819056"/>
                <a:gd name="connsiteX16" fmla="*/ 0 w 12192000"/>
                <a:gd name="connsiteY16" fmla="*/ 29948 h 1819056"/>
                <a:gd name="connsiteX17" fmla="*/ 15757 w 12192000"/>
                <a:gd name="connsiteY17" fmla="*/ 27869 h 1819056"/>
                <a:gd name="connsiteX18" fmla="*/ 362684 w 12192000"/>
                <a:gd name="connsiteY18" fmla="*/ 4345 h 1819056"/>
                <a:gd name="connsiteX19" fmla="*/ 758403 w 12192000"/>
                <a:gd name="connsiteY19" fmla="*/ 2043 h 181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192000" h="1819056">
                  <a:moveTo>
                    <a:pt x="12192000" y="1590347"/>
                  </a:moveTo>
                  <a:lnTo>
                    <a:pt x="12188220" y="1819056"/>
                  </a:lnTo>
                  <a:lnTo>
                    <a:pt x="11380834" y="1819056"/>
                  </a:lnTo>
                  <a:lnTo>
                    <a:pt x="11595183" y="1770580"/>
                  </a:lnTo>
                  <a:cubicBezTo>
                    <a:pt x="11796947" y="1720044"/>
                    <a:pt x="11996151" y="1660154"/>
                    <a:pt x="12192000" y="1590347"/>
                  </a:cubicBezTo>
                  <a:close/>
                  <a:moveTo>
                    <a:pt x="758403" y="2043"/>
                  </a:moveTo>
                  <a:cubicBezTo>
                    <a:pt x="1686489" y="25125"/>
                    <a:pt x="2647016" y="241445"/>
                    <a:pt x="3624304" y="526182"/>
                  </a:cubicBezTo>
                  <a:cubicBezTo>
                    <a:pt x="4845769" y="882033"/>
                    <a:pt x="6018540" y="1319108"/>
                    <a:pt x="7255331" y="1648964"/>
                  </a:cubicBezTo>
                  <a:cubicBezTo>
                    <a:pt x="7453869" y="1701922"/>
                    <a:pt x="7655427" y="1749451"/>
                    <a:pt x="7859208" y="1790989"/>
                  </a:cubicBezTo>
                  <a:lnTo>
                    <a:pt x="8008547" y="1819056"/>
                  </a:lnTo>
                  <a:lnTo>
                    <a:pt x="6697152" y="1819056"/>
                  </a:lnTo>
                  <a:lnTo>
                    <a:pt x="6692612" y="1817638"/>
                  </a:lnTo>
                  <a:cubicBezTo>
                    <a:pt x="5687256" y="1488590"/>
                    <a:pt x="4686470" y="1078099"/>
                    <a:pt x="3598861" y="695028"/>
                  </a:cubicBezTo>
                  <a:cubicBezTo>
                    <a:pt x="2581993" y="336916"/>
                    <a:pt x="1520053" y="58744"/>
                    <a:pt x="357248" y="79163"/>
                  </a:cubicBezTo>
                  <a:cubicBezTo>
                    <a:pt x="243154" y="81169"/>
                    <a:pt x="129832" y="86358"/>
                    <a:pt x="17144" y="95022"/>
                  </a:cubicBezTo>
                  <a:lnTo>
                    <a:pt x="0" y="96893"/>
                  </a:lnTo>
                  <a:lnTo>
                    <a:pt x="0" y="29948"/>
                  </a:lnTo>
                  <a:lnTo>
                    <a:pt x="15757" y="27869"/>
                  </a:lnTo>
                  <a:cubicBezTo>
                    <a:pt x="130823" y="16482"/>
                    <a:pt x="246476" y="8725"/>
                    <a:pt x="362684" y="4345"/>
                  </a:cubicBezTo>
                  <a:cubicBezTo>
                    <a:pt x="493898" y="-608"/>
                    <a:pt x="625820" y="-1255"/>
                    <a:pt x="758403" y="2043"/>
                  </a:cubicBezTo>
                  <a:close/>
                </a:path>
              </a:pathLst>
            </a:custGeom>
            <a:gradFill>
              <a:gsLst>
                <a:gs pos="100000">
                  <a:schemeClr val="accent3">
                    <a:lumMod val="75000"/>
                  </a:schemeClr>
                </a:gs>
                <a:gs pos="15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5" name="Freeform 14">
              <a:extLst>
                <a:ext uri="{FF2B5EF4-FFF2-40B4-BE49-F238E27FC236}">
                  <a16:creationId xmlns:a16="http://schemas.microsoft.com/office/drawing/2014/main" id="{09AD945E-4C3E-8449-8EEE-312F405896BC}"/>
                </a:ext>
              </a:extLst>
            </p:cNvPr>
            <p:cNvSpPr/>
            <p:nvPr userDrawn="1"/>
          </p:nvSpPr>
          <p:spPr>
            <a:xfrm>
              <a:off x="0" y="5020347"/>
              <a:ext cx="12192000" cy="1837653"/>
            </a:xfrm>
            <a:custGeom>
              <a:avLst/>
              <a:gdLst>
                <a:gd name="connsiteX0" fmla="*/ 631978 w 12192000"/>
                <a:gd name="connsiteY0" fmla="*/ 192 h 1837653"/>
                <a:gd name="connsiteX1" fmla="*/ 1503520 w 12192000"/>
                <a:gd name="connsiteY1" fmla="*/ 46905 h 1837653"/>
                <a:gd name="connsiteX2" fmla="*/ 7786904 w 12192000"/>
                <a:gd name="connsiteY2" fmla="*/ 1473930 h 1837653"/>
                <a:gd name="connsiteX3" fmla="*/ 12192000 w 12192000"/>
                <a:gd name="connsiteY3" fmla="*/ 1008678 h 1837653"/>
                <a:gd name="connsiteX4" fmla="*/ 12192000 w 12192000"/>
                <a:gd name="connsiteY4" fmla="*/ 1399189 h 1837653"/>
                <a:gd name="connsiteX5" fmla="*/ 12192000 w 12192000"/>
                <a:gd name="connsiteY5" fmla="*/ 1684971 h 1837653"/>
                <a:gd name="connsiteX6" fmla="*/ 12192000 w 12192000"/>
                <a:gd name="connsiteY6" fmla="*/ 1837653 h 1837653"/>
                <a:gd name="connsiteX7" fmla="*/ 7111369 w 12192000"/>
                <a:gd name="connsiteY7" fmla="*/ 1837653 h 1837653"/>
                <a:gd name="connsiteX8" fmla="*/ 6700767 w 12192000"/>
                <a:gd name="connsiteY8" fmla="*/ 1716805 h 1837653"/>
                <a:gd name="connsiteX9" fmla="*/ 3590934 w 12192000"/>
                <a:gd name="connsiteY9" fmla="*/ 645969 h 1837653"/>
                <a:gd name="connsiteX10" fmla="*/ 341773 w 12192000"/>
                <a:gd name="connsiteY10" fmla="*/ 83899 h 1837653"/>
                <a:gd name="connsiteX11" fmla="*/ 2197 w 12192000"/>
                <a:gd name="connsiteY11" fmla="*/ 105337 h 1837653"/>
                <a:gd name="connsiteX12" fmla="*/ 0 w 12192000"/>
                <a:gd name="connsiteY12" fmla="*/ 105613 h 1837653"/>
                <a:gd name="connsiteX13" fmla="*/ 0 w 12192000"/>
                <a:gd name="connsiteY13" fmla="*/ 38154 h 1837653"/>
                <a:gd name="connsiteX14" fmla="*/ 346000 w 12192000"/>
                <a:gd name="connsiteY14" fmla="*/ 8933 h 1837653"/>
                <a:gd name="connsiteX15" fmla="*/ 631978 w 12192000"/>
                <a:gd name="connsiteY15" fmla="*/ 192 h 1837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1837653">
                  <a:moveTo>
                    <a:pt x="631978" y="192"/>
                  </a:moveTo>
                  <a:cubicBezTo>
                    <a:pt x="919158" y="-2016"/>
                    <a:pt x="1209873" y="14922"/>
                    <a:pt x="1503520" y="46905"/>
                  </a:cubicBezTo>
                  <a:cubicBezTo>
                    <a:pt x="3549714" y="172355"/>
                    <a:pt x="5706358" y="1115591"/>
                    <a:pt x="7786904" y="1473930"/>
                  </a:cubicBezTo>
                  <a:cubicBezTo>
                    <a:pt x="9204661" y="1718045"/>
                    <a:pt x="10875183" y="1584536"/>
                    <a:pt x="12192000" y="1008678"/>
                  </a:cubicBezTo>
                  <a:lnTo>
                    <a:pt x="12192000" y="1399189"/>
                  </a:lnTo>
                  <a:lnTo>
                    <a:pt x="12192000" y="1684971"/>
                  </a:lnTo>
                  <a:lnTo>
                    <a:pt x="12192000" y="1837653"/>
                  </a:lnTo>
                  <a:lnTo>
                    <a:pt x="7111369" y="1837653"/>
                  </a:lnTo>
                  <a:lnTo>
                    <a:pt x="6700767" y="1716805"/>
                  </a:lnTo>
                  <a:cubicBezTo>
                    <a:pt x="5690778" y="1404548"/>
                    <a:pt x="4684008" y="1010844"/>
                    <a:pt x="3590934" y="645969"/>
                  </a:cubicBezTo>
                  <a:cubicBezTo>
                    <a:pt x="2569009" y="304809"/>
                    <a:pt x="1503293" y="44345"/>
                    <a:pt x="341773" y="83899"/>
                  </a:cubicBezTo>
                  <a:cubicBezTo>
                    <a:pt x="227801" y="87780"/>
                    <a:pt x="114653" y="94828"/>
                    <a:pt x="2197" y="105337"/>
                  </a:cubicBezTo>
                  <a:lnTo>
                    <a:pt x="0" y="105613"/>
                  </a:lnTo>
                  <a:lnTo>
                    <a:pt x="0" y="38154"/>
                  </a:lnTo>
                  <a:lnTo>
                    <a:pt x="346000" y="8933"/>
                  </a:lnTo>
                  <a:cubicBezTo>
                    <a:pt x="440918" y="3791"/>
                    <a:pt x="536252" y="928"/>
                    <a:pt x="631978" y="192"/>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pic>
          <p:nvPicPr>
            <p:cNvPr id="21" name="Picture 20">
              <a:extLst>
                <a:ext uri="{FF2B5EF4-FFF2-40B4-BE49-F238E27FC236}">
                  <a16:creationId xmlns:a16="http://schemas.microsoft.com/office/drawing/2014/main" id="{77BF3E23-4775-F24A-AA8A-E0D6154230A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313288" y="5563587"/>
              <a:ext cx="2025315" cy="911940"/>
            </a:xfrm>
            <a:prstGeom prst="rect">
              <a:avLst/>
            </a:prstGeom>
          </p:spPr>
        </p:pic>
      </p:grpSp>
      <p:sp>
        <p:nvSpPr>
          <p:cNvPr id="11" name="Title 10">
            <a:extLst>
              <a:ext uri="{FF2B5EF4-FFF2-40B4-BE49-F238E27FC236}">
                <a16:creationId xmlns:a16="http://schemas.microsoft.com/office/drawing/2014/main" id="{5F021924-D537-5244-8E81-B66085BADA23}"/>
              </a:ext>
            </a:extLst>
          </p:cNvPr>
          <p:cNvSpPr>
            <a:spLocks noGrp="1"/>
          </p:cNvSpPr>
          <p:nvPr>
            <p:ph type="title"/>
          </p:nvPr>
        </p:nvSpPr>
        <p:spPr>
          <a:xfrm>
            <a:off x="1413310" y="701748"/>
            <a:ext cx="9365380" cy="2014679"/>
          </a:xfrm>
        </p:spPr>
        <p:txBody>
          <a:bodyPr anchor="b"/>
          <a:lstStyle/>
          <a:p>
            <a:r>
              <a:rPr lang="en-US"/>
              <a:t>Click to edit Master title style</a:t>
            </a:r>
          </a:p>
        </p:txBody>
      </p:sp>
      <p:sp>
        <p:nvSpPr>
          <p:cNvPr id="30" name="Subtitle 2">
            <a:extLst>
              <a:ext uri="{FF2B5EF4-FFF2-40B4-BE49-F238E27FC236}">
                <a16:creationId xmlns:a16="http://schemas.microsoft.com/office/drawing/2014/main" id="{1DC5B24F-A901-D143-B12C-A9266B791623}"/>
              </a:ext>
            </a:extLst>
          </p:cNvPr>
          <p:cNvSpPr>
            <a:spLocks noGrp="1"/>
          </p:cNvSpPr>
          <p:nvPr>
            <p:ph type="subTitle" idx="1"/>
          </p:nvPr>
        </p:nvSpPr>
        <p:spPr>
          <a:xfrm>
            <a:off x="1413310" y="3081639"/>
            <a:ext cx="9365380" cy="986569"/>
          </a:xfrm>
        </p:spPr>
        <p:txBody>
          <a:bodyPr/>
          <a:lstStyle>
            <a:lvl1pPr marL="0" indent="0" algn="l">
              <a:buNone/>
              <a:defRPr sz="24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Tree>
    <p:extLst>
      <p:ext uri="{BB962C8B-B14F-4D97-AF65-F5344CB8AC3E}">
        <p14:creationId xmlns:p14="http://schemas.microsoft.com/office/powerpoint/2010/main" val="10146775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Photo Slide">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FAAABCDA-8311-924D-A6DF-7015A596B524}"/>
              </a:ext>
            </a:extLst>
          </p:cNvPr>
          <p:cNvSpPr>
            <a:spLocks noGrp="1"/>
          </p:cNvSpPr>
          <p:nvPr>
            <p:ph type="body" sz="quarter" idx="10"/>
          </p:nvPr>
        </p:nvSpPr>
        <p:spPr>
          <a:xfrm>
            <a:off x="457199" y="1146258"/>
            <a:ext cx="2350169" cy="2971798"/>
          </a:xfrm>
          <a:noFill/>
        </p:spPr>
        <p:txBody>
          <a:bodyPr lIns="91440" rIns="91440" anchor="t" anchorCtr="0"/>
          <a:lstStyle>
            <a:lvl1pPr marL="0" indent="0">
              <a:buNone/>
              <a:defRPr b="0">
                <a:solidFill>
                  <a:schemeClr val="tx1"/>
                </a:solidFill>
              </a:defRPr>
            </a:lvl1pPr>
          </a:lstStyle>
          <a:p>
            <a:pPr lvl="0"/>
            <a:r>
              <a:rPr lang="en-US"/>
              <a:t>Click to edit Master text styles</a:t>
            </a:r>
          </a:p>
        </p:txBody>
      </p:sp>
      <p:cxnSp>
        <p:nvCxnSpPr>
          <p:cNvPr id="6" name="Straight Connector 5">
            <a:extLst>
              <a:ext uri="{FF2B5EF4-FFF2-40B4-BE49-F238E27FC236}">
                <a16:creationId xmlns:a16="http://schemas.microsoft.com/office/drawing/2014/main" id="{83AD8FE4-9135-474D-AB67-74EE5B819A7C}"/>
              </a:ext>
            </a:extLst>
          </p:cNvPr>
          <p:cNvCxnSpPr>
            <a:cxnSpLocks/>
          </p:cNvCxnSpPr>
          <p:nvPr userDrawn="1"/>
        </p:nvCxnSpPr>
        <p:spPr>
          <a:xfrm>
            <a:off x="457200" y="947987"/>
            <a:ext cx="2350168" cy="0"/>
          </a:xfrm>
          <a:prstGeom prst="line">
            <a:avLst/>
          </a:prstGeom>
          <a:ln w="31750">
            <a:solidFill>
              <a:schemeClr val="accent3"/>
            </a:solidFill>
          </a:ln>
        </p:spPr>
        <p:style>
          <a:lnRef idx="1">
            <a:schemeClr val="accent1"/>
          </a:lnRef>
          <a:fillRef idx="0">
            <a:schemeClr val="accent1"/>
          </a:fillRef>
          <a:effectRef idx="0">
            <a:schemeClr val="accent1"/>
          </a:effectRef>
          <a:fontRef idx="minor">
            <a:schemeClr val="tx1"/>
          </a:fontRef>
        </p:style>
      </p:cxnSp>
      <p:grpSp>
        <p:nvGrpSpPr>
          <p:cNvPr id="3" name="Group 2">
            <a:extLst>
              <a:ext uri="{FF2B5EF4-FFF2-40B4-BE49-F238E27FC236}">
                <a16:creationId xmlns:a16="http://schemas.microsoft.com/office/drawing/2014/main" id="{4536B901-8811-1F4C-B081-7D5733E9A4BE}"/>
              </a:ext>
            </a:extLst>
          </p:cNvPr>
          <p:cNvGrpSpPr/>
          <p:nvPr userDrawn="1"/>
        </p:nvGrpSpPr>
        <p:grpSpPr>
          <a:xfrm>
            <a:off x="0" y="5379426"/>
            <a:ext cx="2807368" cy="753891"/>
            <a:chOff x="0" y="5379426"/>
            <a:chExt cx="2807368" cy="753891"/>
          </a:xfrm>
        </p:grpSpPr>
        <p:sp>
          <p:nvSpPr>
            <p:cNvPr id="22" name="Freeform 21">
              <a:extLst>
                <a:ext uri="{FF2B5EF4-FFF2-40B4-BE49-F238E27FC236}">
                  <a16:creationId xmlns:a16="http://schemas.microsoft.com/office/drawing/2014/main" id="{F03F6CCB-6D8C-8445-96B6-E5F693F2AA62}"/>
                </a:ext>
              </a:extLst>
            </p:cNvPr>
            <p:cNvSpPr/>
            <p:nvPr userDrawn="1"/>
          </p:nvSpPr>
          <p:spPr>
            <a:xfrm>
              <a:off x="0" y="5532510"/>
              <a:ext cx="2807368" cy="600807"/>
            </a:xfrm>
            <a:custGeom>
              <a:avLst/>
              <a:gdLst>
                <a:gd name="connsiteX0" fmla="*/ 0 w 2807368"/>
                <a:gd name="connsiteY0" fmla="*/ 0 h 600807"/>
                <a:gd name="connsiteX1" fmla="*/ 429971 w 2807368"/>
                <a:gd name="connsiteY1" fmla="*/ 123998 h 600807"/>
                <a:gd name="connsiteX2" fmla="*/ 2790212 w 2807368"/>
                <a:gd name="connsiteY2" fmla="*/ 235402 h 600807"/>
                <a:gd name="connsiteX3" fmla="*/ 2807368 w 2807368"/>
                <a:gd name="connsiteY3" fmla="*/ 231522 h 600807"/>
                <a:gd name="connsiteX4" fmla="*/ 2807368 w 2807368"/>
                <a:gd name="connsiteY4" fmla="*/ 566106 h 600807"/>
                <a:gd name="connsiteX5" fmla="*/ 2593885 w 2807368"/>
                <a:gd name="connsiteY5" fmla="*/ 587498 h 600807"/>
                <a:gd name="connsiteX6" fmla="*/ 100844 w 2807368"/>
                <a:gd name="connsiteY6" fmla="*/ 222653 h 600807"/>
                <a:gd name="connsiteX7" fmla="*/ 0 w 2807368"/>
                <a:gd name="connsiteY7" fmla="*/ 188389 h 600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807368" h="600807">
                  <a:moveTo>
                    <a:pt x="0" y="0"/>
                  </a:moveTo>
                  <a:lnTo>
                    <a:pt x="429971" y="123998"/>
                  </a:lnTo>
                  <a:cubicBezTo>
                    <a:pt x="1184765" y="325331"/>
                    <a:pt x="2014184" y="392492"/>
                    <a:pt x="2790212" y="235402"/>
                  </a:cubicBezTo>
                  <a:lnTo>
                    <a:pt x="2807368" y="231522"/>
                  </a:lnTo>
                  <a:lnTo>
                    <a:pt x="2807368" y="566106"/>
                  </a:lnTo>
                  <a:lnTo>
                    <a:pt x="2593885" y="587498"/>
                  </a:lnTo>
                  <a:cubicBezTo>
                    <a:pt x="1673646" y="651184"/>
                    <a:pt x="884869" y="479260"/>
                    <a:pt x="100844" y="222653"/>
                  </a:cubicBezTo>
                  <a:lnTo>
                    <a:pt x="0" y="188389"/>
                  </a:lnTo>
                  <a:close/>
                </a:path>
              </a:pathLst>
            </a:custGeom>
            <a:gradFill>
              <a:gsLst>
                <a:gs pos="100000">
                  <a:schemeClr val="accent3">
                    <a:lumMod val="75000"/>
                  </a:schemeClr>
                </a:gs>
                <a:gs pos="60000">
                  <a:schemeClr val="accent3"/>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0" name="Freeform 19">
              <a:extLst>
                <a:ext uri="{FF2B5EF4-FFF2-40B4-BE49-F238E27FC236}">
                  <a16:creationId xmlns:a16="http://schemas.microsoft.com/office/drawing/2014/main" id="{0E3E0C40-3584-6C4D-8DA3-C9A4FA58FAC5}"/>
                </a:ext>
              </a:extLst>
            </p:cNvPr>
            <p:cNvSpPr/>
            <p:nvPr userDrawn="1"/>
          </p:nvSpPr>
          <p:spPr>
            <a:xfrm>
              <a:off x="0" y="5379426"/>
              <a:ext cx="2807368" cy="649803"/>
            </a:xfrm>
            <a:custGeom>
              <a:avLst/>
              <a:gdLst>
                <a:gd name="connsiteX0" fmla="*/ 0 w 2807368"/>
                <a:gd name="connsiteY0" fmla="*/ 0 h 649803"/>
                <a:gd name="connsiteX1" fmla="*/ 282676 w 2807368"/>
                <a:gd name="connsiteY1" fmla="*/ 70799 h 649803"/>
                <a:gd name="connsiteX2" fmla="*/ 740881 w 2807368"/>
                <a:gd name="connsiteY2" fmla="*/ 163828 h 649803"/>
                <a:gd name="connsiteX3" fmla="*/ 2706471 w 2807368"/>
                <a:gd name="connsiteY3" fmla="*/ 96397 h 649803"/>
                <a:gd name="connsiteX4" fmla="*/ 2807368 w 2807368"/>
                <a:gd name="connsiteY4" fmla="*/ 67250 h 649803"/>
                <a:gd name="connsiteX5" fmla="*/ 2807368 w 2807368"/>
                <a:gd name="connsiteY5" fmla="*/ 605551 h 649803"/>
                <a:gd name="connsiteX6" fmla="*/ 2602685 w 2807368"/>
                <a:gd name="connsiteY6" fmla="*/ 629466 h 649803"/>
                <a:gd name="connsiteX7" fmla="*/ 105614 w 2807368"/>
                <a:gd name="connsiteY7" fmla="*/ 305882 h 649803"/>
                <a:gd name="connsiteX8" fmla="*/ 0 w 2807368"/>
                <a:gd name="connsiteY8" fmla="*/ 271926 h 64980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807368" h="649803">
                  <a:moveTo>
                    <a:pt x="0" y="0"/>
                  </a:moveTo>
                  <a:lnTo>
                    <a:pt x="282676" y="70799"/>
                  </a:lnTo>
                  <a:cubicBezTo>
                    <a:pt x="435964" y="106085"/>
                    <a:pt x="588770" y="137629"/>
                    <a:pt x="740881" y="163828"/>
                  </a:cubicBezTo>
                  <a:cubicBezTo>
                    <a:pt x="1362800" y="270912"/>
                    <a:pt x="2067879" y="253759"/>
                    <a:pt x="2706471" y="96397"/>
                  </a:cubicBezTo>
                  <a:lnTo>
                    <a:pt x="2807368" y="67250"/>
                  </a:lnTo>
                  <a:lnTo>
                    <a:pt x="2807368" y="605551"/>
                  </a:lnTo>
                  <a:lnTo>
                    <a:pt x="2602685" y="629466"/>
                  </a:lnTo>
                  <a:cubicBezTo>
                    <a:pt x="1684237" y="708219"/>
                    <a:pt x="893252" y="549395"/>
                    <a:pt x="105614" y="305882"/>
                  </a:cubicBezTo>
                  <a:lnTo>
                    <a:pt x="0" y="27192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grpSp>
      <p:sp>
        <p:nvSpPr>
          <p:cNvPr id="7" name="Picture Placeholder 6">
            <a:extLst>
              <a:ext uri="{FF2B5EF4-FFF2-40B4-BE49-F238E27FC236}">
                <a16:creationId xmlns:a16="http://schemas.microsoft.com/office/drawing/2014/main" id="{2102ABDF-B40E-EE47-91BE-33AA545AB964}"/>
              </a:ext>
            </a:extLst>
          </p:cNvPr>
          <p:cNvSpPr>
            <a:spLocks noGrp="1"/>
          </p:cNvSpPr>
          <p:nvPr>
            <p:ph type="pic" sz="quarter" idx="11"/>
          </p:nvPr>
        </p:nvSpPr>
        <p:spPr>
          <a:xfrm>
            <a:off x="2807368" y="457202"/>
            <a:ext cx="8915400" cy="5943598"/>
          </a:xfrm>
        </p:spPr>
        <p:txBody>
          <a:bodyPr/>
          <a:lstStyle/>
          <a:p>
            <a:endParaRPr lang="en-US"/>
          </a:p>
        </p:txBody>
      </p:sp>
      <p:pic>
        <p:nvPicPr>
          <p:cNvPr id="15" name="Picture 14">
            <a:extLst>
              <a:ext uri="{FF2B5EF4-FFF2-40B4-BE49-F238E27FC236}">
                <a16:creationId xmlns:a16="http://schemas.microsoft.com/office/drawing/2014/main" id="{8B8477A3-E3D5-C34E-BBB2-E175BBA0153C}"/>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513348" y="4385538"/>
            <a:ext cx="2025315" cy="911940"/>
          </a:xfrm>
          <a:prstGeom prst="rect">
            <a:avLst/>
          </a:prstGeom>
        </p:spPr>
      </p:pic>
    </p:spTree>
    <p:extLst>
      <p:ext uri="{BB962C8B-B14F-4D97-AF65-F5344CB8AC3E}">
        <p14:creationId xmlns:p14="http://schemas.microsoft.com/office/powerpoint/2010/main" val="150547599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Quotation">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FE89406-36E4-A648-8101-E8AD8858AAD2}"/>
              </a:ext>
            </a:extLst>
          </p:cNvPr>
          <p:cNvSpPr/>
          <p:nvPr userDrawn="1"/>
        </p:nvSpPr>
        <p:spPr>
          <a:xfrm>
            <a:off x="1427356" y="1387869"/>
            <a:ext cx="10155043" cy="350693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a:xfrm>
            <a:off x="1427356" y="1377235"/>
            <a:ext cx="10155043" cy="3506936"/>
          </a:xfrm>
        </p:spPr>
        <p:txBody>
          <a:bodyPr lIns="274320" tIns="274320" rIns="274320" bIns="274320"/>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a:xfrm>
            <a:off x="1427356" y="5007456"/>
            <a:ext cx="10155044" cy="825192"/>
          </a:xfrm>
        </p:spPr>
        <p:txBody>
          <a:bodyPr/>
          <a:lstStyle>
            <a:lvl1pPr marL="0" indent="0">
              <a:buNone/>
              <a:defRPr/>
            </a:lvl1pPr>
          </a:lstStyle>
          <a:p>
            <a:pPr lvl="0"/>
            <a:r>
              <a:rPr lang="en-US"/>
              <a:t>Click to edit Master text styles</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p:ph type="ftr" sz="quarter" idx="11"/>
          </p:nvPr>
        </p:nvSpPr>
        <p:spPr/>
        <p:txBody>
          <a:bodyPr/>
          <a:lstStyle/>
          <a:p>
            <a:pPr algn="l"/>
            <a:r>
              <a:rPr lang="en-US"/>
              <a:t>Illinois Perinatal Quality Collaborative</a:t>
            </a:r>
          </a:p>
        </p:txBody>
      </p:sp>
      <p:grpSp>
        <p:nvGrpSpPr>
          <p:cNvPr id="33" name="Group 32">
            <a:extLst>
              <a:ext uri="{FF2B5EF4-FFF2-40B4-BE49-F238E27FC236}">
                <a16:creationId xmlns:a16="http://schemas.microsoft.com/office/drawing/2014/main" id="{35A1BE69-25EB-BA40-8C7D-6762A3F21FDC}"/>
              </a:ext>
            </a:extLst>
          </p:cNvPr>
          <p:cNvGrpSpPr/>
          <p:nvPr userDrawn="1"/>
        </p:nvGrpSpPr>
        <p:grpSpPr>
          <a:xfrm>
            <a:off x="7191542" y="1"/>
            <a:ext cx="5000459" cy="1425992"/>
            <a:chOff x="7191542" y="1"/>
            <a:chExt cx="5000459" cy="1425992"/>
          </a:xfrm>
        </p:grpSpPr>
        <p:pic>
          <p:nvPicPr>
            <p:cNvPr id="34" name="Picture 33">
              <a:extLst>
                <a:ext uri="{FF2B5EF4-FFF2-40B4-BE49-F238E27FC236}">
                  <a16:creationId xmlns:a16="http://schemas.microsoft.com/office/drawing/2014/main" id="{BD39D1E9-DD27-FE4B-BBDC-DB18B098F3B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35" name="Group 34">
              <a:extLst>
                <a:ext uri="{FF2B5EF4-FFF2-40B4-BE49-F238E27FC236}">
                  <a16:creationId xmlns:a16="http://schemas.microsoft.com/office/drawing/2014/main" id="{34C7931B-CE9E-174F-8E19-20CBF92C9CA4}"/>
                </a:ext>
              </a:extLst>
            </p:cNvPr>
            <p:cNvGrpSpPr/>
            <p:nvPr userDrawn="1"/>
          </p:nvGrpSpPr>
          <p:grpSpPr>
            <a:xfrm>
              <a:off x="7191542" y="1"/>
              <a:ext cx="5000459" cy="1425992"/>
              <a:chOff x="7186272" y="0"/>
              <a:chExt cx="5005729" cy="1427495"/>
            </a:xfrm>
          </p:grpSpPr>
          <p:sp>
            <p:nvSpPr>
              <p:cNvPr id="36" name="Freeform 35">
                <a:extLst>
                  <a:ext uri="{FF2B5EF4-FFF2-40B4-BE49-F238E27FC236}">
                    <a16:creationId xmlns:a16="http://schemas.microsoft.com/office/drawing/2014/main" id="{907C613D-61B3-FF4C-9146-8B557EE08AE8}"/>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37" name="Freeform 36">
                <a:extLst>
                  <a:ext uri="{FF2B5EF4-FFF2-40B4-BE49-F238E27FC236}">
                    <a16:creationId xmlns:a16="http://schemas.microsoft.com/office/drawing/2014/main" id="{8243E712-956B-624B-A198-C226E8C404E9}"/>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pic>
        <p:nvPicPr>
          <p:cNvPr id="9" name="Graphic 8" descr="Open quotation mark with solid fill">
            <a:extLst>
              <a:ext uri="{FF2B5EF4-FFF2-40B4-BE49-F238E27FC236}">
                <a16:creationId xmlns:a16="http://schemas.microsoft.com/office/drawing/2014/main" id="{FA16D546-1C30-C844-9DAE-C6F23476B3B6}"/>
              </a:ext>
            </a:extLst>
          </p:cNvPr>
          <p:cNvPicPr>
            <a:picLocks noChangeAspect="1"/>
          </p:cNvPicPr>
          <p:nvPr userDrawn="1"/>
        </p:nvPicPr>
        <p:blipFill>
          <a:blip r:embed="rId3" cstate="email">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111512" y="136525"/>
            <a:ext cx="2036762" cy="2036762"/>
          </a:xfrm>
          <a:prstGeom prst="rect">
            <a:avLst/>
          </a:prstGeom>
        </p:spPr>
      </p:pic>
    </p:spTree>
    <p:extLst>
      <p:ext uri="{BB962C8B-B14F-4D97-AF65-F5344CB8AC3E}">
        <p14:creationId xmlns:p14="http://schemas.microsoft.com/office/powerpoint/2010/main" val="98052972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pSp>
        <p:nvGrpSpPr>
          <p:cNvPr id="64" name="Group 63">
            <a:extLst>
              <a:ext uri="{FF2B5EF4-FFF2-40B4-BE49-F238E27FC236}">
                <a16:creationId xmlns:a16="http://schemas.microsoft.com/office/drawing/2014/main" id="{A21757B8-A167-9543-93A9-28F5B7DD3AE1}"/>
              </a:ext>
            </a:extLst>
          </p:cNvPr>
          <p:cNvGrpSpPr/>
          <p:nvPr userDrawn="1"/>
        </p:nvGrpSpPr>
        <p:grpSpPr>
          <a:xfrm>
            <a:off x="7191542" y="1"/>
            <a:ext cx="5000459" cy="1425992"/>
            <a:chOff x="7191542" y="1"/>
            <a:chExt cx="5000459" cy="1425992"/>
          </a:xfrm>
        </p:grpSpPr>
        <p:pic>
          <p:nvPicPr>
            <p:cNvPr id="65" name="Picture 64">
              <a:extLst>
                <a:ext uri="{FF2B5EF4-FFF2-40B4-BE49-F238E27FC236}">
                  <a16:creationId xmlns:a16="http://schemas.microsoft.com/office/drawing/2014/main" id="{6EBC46AE-6314-AD40-82FD-F829616826D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66" name="Group 65">
              <a:extLst>
                <a:ext uri="{FF2B5EF4-FFF2-40B4-BE49-F238E27FC236}">
                  <a16:creationId xmlns:a16="http://schemas.microsoft.com/office/drawing/2014/main" id="{30FC3B73-056B-044C-8E87-4D1E3E439726}"/>
                </a:ext>
              </a:extLst>
            </p:cNvPr>
            <p:cNvGrpSpPr/>
            <p:nvPr userDrawn="1"/>
          </p:nvGrpSpPr>
          <p:grpSpPr>
            <a:xfrm>
              <a:off x="7191542" y="1"/>
              <a:ext cx="5000459" cy="1425992"/>
              <a:chOff x="7186272" y="0"/>
              <a:chExt cx="5005729" cy="1427495"/>
            </a:xfrm>
          </p:grpSpPr>
          <p:sp>
            <p:nvSpPr>
              <p:cNvPr id="67" name="Freeform 66">
                <a:extLst>
                  <a:ext uri="{FF2B5EF4-FFF2-40B4-BE49-F238E27FC236}">
                    <a16:creationId xmlns:a16="http://schemas.microsoft.com/office/drawing/2014/main" id="{2ACC1B52-515D-F34B-AC92-E99524E4E1A9}"/>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68" name="Freeform 67">
                <a:extLst>
                  <a:ext uri="{FF2B5EF4-FFF2-40B4-BE49-F238E27FC236}">
                    <a16:creationId xmlns:a16="http://schemas.microsoft.com/office/drawing/2014/main" id="{B72204B9-A3A2-384F-8D98-694F41E5700F}"/>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C7CC80D5-AE56-AA43-851E-51FC20EB08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1A6A5A7-45FB-5843-873D-829CB39FBAB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3959463F-FFB8-A84A-9524-539F18945B62}"/>
              </a:ext>
            </a:extLst>
          </p:cNvPr>
          <p:cNvSpPr>
            <a:spLocks noGrp="1"/>
          </p:cNvSpPr>
          <p:nvPr>
            <p:ph type="sldNum" sz="quarter" idx="10"/>
          </p:nvPr>
        </p:nvSpPr>
        <p:spPr>
          <a:xfrm>
            <a:off x="8839200" y="6356350"/>
            <a:ext cx="2743200" cy="365125"/>
          </a:xfrm>
          <a:prstGeom prst="rect">
            <a:avLst/>
          </a:prstGeom>
        </p:spPr>
        <p:txBody>
          <a:bodyPr/>
          <a:lstStyle>
            <a:lvl1pPr>
              <a:defRPr>
                <a:solidFill>
                  <a:schemeClr val="tx2">
                    <a:lumMod val="60000"/>
                    <a:lumOff val="40000"/>
                  </a:schemeClr>
                </a:solidFill>
              </a:defRPr>
            </a:lvl1pPr>
          </a:lstStyle>
          <a:p>
            <a:fld id="{97033E4B-E3EB-3D46-B2D8-3159663620FA}" type="slidenum">
              <a:rPr lang="en-US" smtClean="0"/>
              <a:pPr/>
              <a:t>‹#›</a:t>
            </a:fld>
            <a:endParaRPr lang="en-US"/>
          </a:p>
        </p:txBody>
      </p:sp>
      <p:cxnSp>
        <p:nvCxnSpPr>
          <p:cNvPr id="8" name="Straight Connector 7">
            <a:extLst>
              <a:ext uri="{FF2B5EF4-FFF2-40B4-BE49-F238E27FC236}">
                <a16:creationId xmlns:a16="http://schemas.microsoft.com/office/drawing/2014/main" id="{697C1C4E-56C8-5B41-A8ED-C8AB720553F4}"/>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6" name="Footer Placeholder 5">
            <a:extLst>
              <a:ext uri="{FF2B5EF4-FFF2-40B4-BE49-F238E27FC236}">
                <a16:creationId xmlns:a16="http://schemas.microsoft.com/office/drawing/2014/main" id="{2951CA70-2A74-4144-AFE2-25543D5CF91B}"/>
              </a:ext>
            </a:extLst>
          </p:cNvPr>
          <p:cNvSpPr>
            <a:spLocks noGrp="1"/>
          </p:cNvSpPr>
          <p:nvPr userDrawn="1">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77622401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4F9613-3E06-3F48-82B4-2A1443C750F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414D1D0-13C0-1C48-8509-A31993AA0188}"/>
              </a:ext>
            </a:extLst>
          </p:cNvPr>
          <p:cNvSpPr>
            <a:spLocks noGrp="1"/>
          </p:cNvSpPr>
          <p:nvPr>
            <p:ph sz="half" idx="1"/>
          </p:nvPr>
        </p:nvSpPr>
        <p:spPr>
          <a:xfrm>
            <a:off x="609600" y="1825625"/>
            <a:ext cx="54102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44" name="Group 43">
            <a:extLst>
              <a:ext uri="{FF2B5EF4-FFF2-40B4-BE49-F238E27FC236}">
                <a16:creationId xmlns:a16="http://schemas.microsoft.com/office/drawing/2014/main" id="{C31C0657-04E2-D545-B5F6-0497061C9D05}"/>
              </a:ext>
            </a:extLst>
          </p:cNvPr>
          <p:cNvGrpSpPr/>
          <p:nvPr userDrawn="1"/>
        </p:nvGrpSpPr>
        <p:grpSpPr>
          <a:xfrm>
            <a:off x="7191542" y="1"/>
            <a:ext cx="5000459" cy="1425992"/>
            <a:chOff x="7191542" y="1"/>
            <a:chExt cx="5000459" cy="1425992"/>
          </a:xfrm>
        </p:grpSpPr>
        <p:pic>
          <p:nvPicPr>
            <p:cNvPr id="20" name="Picture 19">
              <a:extLst>
                <a:ext uri="{FF2B5EF4-FFF2-40B4-BE49-F238E27FC236}">
                  <a16:creationId xmlns:a16="http://schemas.microsoft.com/office/drawing/2014/main" id="{C338F5E7-D129-6645-8C24-2FD0BA1F9E5D}"/>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43" name="Group 42">
              <a:extLst>
                <a:ext uri="{FF2B5EF4-FFF2-40B4-BE49-F238E27FC236}">
                  <a16:creationId xmlns:a16="http://schemas.microsoft.com/office/drawing/2014/main" id="{28F36C39-8E69-F445-8464-88EC96A24670}"/>
                </a:ext>
              </a:extLst>
            </p:cNvPr>
            <p:cNvGrpSpPr/>
            <p:nvPr userDrawn="1"/>
          </p:nvGrpSpPr>
          <p:grpSpPr>
            <a:xfrm>
              <a:off x="7191542" y="1"/>
              <a:ext cx="5000459" cy="1425992"/>
              <a:chOff x="7186272" y="0"/>
              <a:chExt cx="5005729" cy="1427495"/>
            </a:xfrm>
          </p:grpSpPr>
          <p:sp>
            <p:nvSpPr>
              <p:cNvPr id="42" name="Freeform 41">
                <a:extLst>
                  <a:ext uri="{FF2B5EF4-FFF2-40B4-BE49-F238E27FC236}">
                    <a16:creationId xmlns:a16="http://schemas.microsoft.com/office/drawing/2014/main" id="{C69BDA35-9203-0445-8810-A728F1BA10E1}"/>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40" name="Freeform 39">
                <a:extLst>
                  <a:ext uri="{FF2B5EF4-FFF2-40B4-BE49-F238E27FC236}">
                    <a16:creationId xmlns:a16="http://schemas.microsoft.com/office/drawing/2014/main" id="{91F10EC0-4FE0-DA44-B3E9-8BAB32988703}"/>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4" name="Content Placeholder 3">
            <a:extLst>
              <a:ext uri="{FF2B5EF4-FFF2-40B4-BE49-F238E27FC236}">
                <a16:creationId xmlns:a16="http://schemas.microsoft.com/office/drawing/2014/main" id="{47AC49C6-C095-154D-9A46-1A58CDDD4EAA}"/>
              </a:ext>
            </a:extLst>
          </p:cNvPr>
          <p:cNvSpPr>
            <a:spLocks noGrp="1"/>
          </p:cNvSpPr>
          <p:nvPr>
            <p:ph sz="half" idx="2"/>
          </p:nvPr>
        </p:nvSpPr>
        <p:spPr>
          <a:xfrm>
            <a:off x="6172199" y="1825625"/>
            <a:ext cx="5410199"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1D558E08-9048-CC4B-A710-8B9165DDD7AE}"/>
              </a:ext>
            </a:extLst>
          </p:cNvPr>
          <p:cNvSpPr>
            <a:spLocks noGrp="1"/>
          </p:cNvSpPr>
          <p:nvPr>
            <p:ph type="sldNum" sz="quarter" idx="10"/>
          </p:nvPr>
        </p:nvSpPr>
        <p:spPr>
          <a:xfrm>
            <a:off x="8839198"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91883F68-545E-8C40-8E0F-73BEF76D2AFE}"/>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5" name="Footer Placeholder 4">
            <a:extLst>
              <a:ext uri="{FF2B5EF4-FFF2-40B4-BE49-F238E27FC236}">
                <a16:creationId xmlns:a16="http://schemas.microsoft.com/office/drawing/2014/main" id="{AE37E3AC-CC1F-C94D-A556-F1ED79EA64EA}"/>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402458795"/>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grpSp>
        <p:nvGrpSpPr>
          <p:cNvPr id="25" name="Group 24">
            <a:extLst>
              <a:ext uri="{FF2B5EF4-FFF2-40B4-BE49-F238E27FC236}">
                <a16:creationId xmlns:a16="http://schemas.microsoft.com/office/drawing/2014/main" id="{0A9E872B-2A7D-634E-BC84-C151E86E609A}"/>
              </a:ext>
            </a:extLst>
          </p:cNvPr>
          <p:cNvGrpSpPr/>
          <p:nvPr userDrawn="1"/>
        </p:nvGrpSpPr>
        <p:grpSpPr>
          <a:xfrm>
            <a:off x="7191542" y="1"/>
            <a:ext cx="5000459" cy="1425992"/>
            <a:chOff x="7191542" y="1"/>
            <a:chExt cx="5000459" cy="1425992"/>
          </a:xfrm>
        </p:grpSpPr>
        <p:pic>
          <p:nvPicPr>
            <p:cNvPr id="26" name="Picture 25">
              <a:extLst>
                <a:ext uri="{FF2B5EF4-FFF2-40B4-BE49-F238E27FC236}">
                  <a16:creationId xmlns:a16="http://schemas.microsoft.com/office/drawing/2014/main" id="{FA9C46F1-AD3D-CE4E-A117-F5342D4B62C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7" name="Group 26">
              <a:extLst>
                <a:ext uri="{FF2B5EF4-FFF2-40B4-BE49-F238E27FC236}">
                  <a16:creationId xmlns:a16="http://schemas.microsoft.com/office/drawing/2014/main" id="{F28E4D70-C44F-CA48-A579-9B58C0FEB582}"/>
                </a:ext>
              </a:extLst>
            </p:cNvPr>
            <p:cNvGrpSpPr/>
            <p:nvPr userDrawn="1"/>
          </p:nvGrpSpPr>
          <p:grpSpPr>
            <a:xfrm>
              <a:off x="7191542" y="1"/>
              <a:ext cx="5000459" cy="1425992"/>
              <a:chOff x="7186272" y="0"/>
              <a:chExt cx="5005729" cy="1427495"/>
            </a:xfrm>
          </p:grpSpPr>
          <p:sp>
            <p:nvSpPr>
              <p:cNvPr id="28" name="Freeform 27">
                <a:extLst>
                  <a:ext uri="{FF2B5EF4-FFF2-40B4-BE49-F238E27FC236}">
                    <a16:creationId xmlns:a16="http://schemas.microsoft.com/office/drawing/2014/main" id="{C86168EB-479C-C240-960B-6A139D47D16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9" name="Freeform 28">
                <a:extLst>
                  <a:ext uri="{FF2B5EF4-FFF2-40B4-BE49-F238E27FC236}">
                    <a16:creationId xmlns:a16="http://schemas.microsoft.com/office/drawing/2014/main" id="{43802725-C646-4B47-ACA4-0A77C90C6198}"/>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43E6D063-0BA2-C843-9F1B-0429DB7C51DA}"/>
              </a:ext>
            </a:extLst>
          </p:cNvPr>
          <p:cNvSpPr>
            <a:spLocks noGrp="1"/>
          </p:cNvSpPr>
          <p:nvPr>
            <p:ph type="title"/>
          </p:nvPr>
        </p:nvSpPr>
        <p:spPr>
          <a:xfrm>
            <a:off x="609600" y="365125"/>
            <a:ext cx="109728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7B694B1-145A-BD4F-95A3-18C4FB7F312C}"/>
              </a:ext>
            </a:extLst>
          </p:cNvPr>
          <p:cNvSpPr>
            <a:spLocks noGrp="1"/>
          </p:cNvSpPr>
          <p:nvPr>
            <p:ph type="body" idx="1"/>
          </p:nvPr>
        </p:nvSpPr>
        <p:spPr>
          <a:xfrm>
            <a:off x="609600" y="1681163"/>
            <a:ext cx="5387975"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303DAFCD-AF7D-4A43-9492-D4C9EC4058F9}"/>
              </a:ext>
            </a:extLst>
          </p:cNvPr>
          <p:cNvSpPr>
            <a:spLocks noGrp="1"/>
          </p:cNvSpPr>
          <p:nvPr>
            <p:ph sz="half" idx="2"/>
          </p:nvPr>
        </p:nvSpPr>
        <p:spPr>
          <a:xfrm>
            <a:off x="609600" y="2505075"/>
            <a:ext cx="5387975" cy="3684588"/>
          </a:xfrm>
          <a:solidFill>
            <a:schemeClr val="bg2"/>
          </a:solidFill>
        </p:spPr>
        <p:txBody>
          <a:bodyPr lIns="182880" tIns="0" rIns="182880" bIns="0">
            <a:norm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936CB-B19E-AB4F-954A-9107A1AB5799}"/>
              </a:ext>
            </a:extLst>
          </p:cNvPr>
          <p:cNvSpPr>
            <a:spLocks noGrp="1"/>
          </p:cNvSpPr>
          <p:nvPr>
            <p:ph type="body" sz="quarter" idx="3"/>
          </p:nvPr>
        </p:nvSpPr>
        <p:spPr>
          <a:xfrm>
            <a:off x="6172200" y="1681163"/>
            <a:ext cx="5410200" cy="823912"/>
          </a:xfrm>
          <a:solidFill>
            <a:schemeClr val="bg2"/>
          </a:solidFill>
        </p:spPr>
        <p:txBody>
          <a:bodyPr lIns="182880" tIns="0" rIns="182880" bIns="0" anchor="ctr" anchorCtr="0">
            <a:noAutofit/>
          </a:bodyPr>
          <a:lstStyle>
            <a:lvl1pPr marL="0" indent="0">
              <a:buNone/>
              <a:defRPr sz="2400" b="0" u="sng" baseline="0">
                <a:solidFill>
                  <a:schemeClr val="tx1"/>
                </a:solidFill>
                <a:uFill>
                  <a:solidFill>
                    <a:schemeClr val="accent3"/>
                  </a:solidFill>
                </a:uFill>
                <a:latin typeface="+mj-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481F0BC5-358A-624D-831F-0C9192B39C20}"/>
              </a:ext>
            </a:extLst>
          </p:cNvPr>
          <p:cNvSpPr>
            <a:spLocks noGrp="1"/>
          </p:cNvSpPr>
          <p:nvPr>
            <p:ph sz="quarter" idx="4"/>
          </p:nvPr>
        </p:nvSpPr>
        <p:spPr>
          <a:xfrm>
            <a:off x="6172200" y="2505075"/>
            <a:ext cx="5410200" cy="3684588"/>
          </a:xfrm>
          <a:solidFill>
            <a:schemeClr val="bg2"/>
          </a:solidFill>
        </p:spPr>
        <p:txBody>
          <a:bodyPr lIns="182880" tIns="0" rIns="182880" bIns="0">
            <a:noAutofit/>
          </a:bodyPr>
          <a:lstStyle>
            <a:lvl1pPr>
              <a:defRPr sz="2000"/>
            </a:lvl1pPr>
            <a:lvl2pPr>
              <a:defRPr sz="1800"/>
            </a:lvl2pPr>
            <a:lvl3pPr>
              <a:defRPr sz="16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6BD8A42-7B0F-BB4D-8ADE-0BD0E43A224A}"/>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9" name="Straight Connector 8">
            <a:extLst>
              <a:ext uri="{FF2B5EF4-FFF2-40B4-BE49-F238E27FC236}">
                <a16:creationId xmlns:a16="http://schemas.microsoft.com/office/drawing/2014/main" id="{A4B2CE60-548B-F44E-A1CF-1783C033B22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8" name="Footer Placeholder 7">
            <a:extLst>
              <a:ext uri="{FF2B5EF4-FFF2-40B4-BE49-F238E27FC236}">
                <a16:creationId xmlns:a16="http://schemas.microsoft.com/office/drawing/2014/main" id="{48DF50CF-ADF4-344E-8BC2-A3F7B9B9EC49}"/>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3019863354"/>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grpSp>
        <p:nvGrpSpPr>
          <p:cNvPr id="22" name="Group 21">
            <a:extLst>
              <a:ext uri="{FF2B5EF4-FFF2-40B4-BE49-F238E27FC236}">
                <a16:creationId xmlns:a16="http://schemas.microsoft.com/office/drawing/2014/main" id="{EA15D652-75FA-E34B-8638-471C3EAA3A7A}"/>
              </a:ext>
            </a:extLst>
          </p:cNvPr>
          <p:cNvGrpSpPr/>
          <p:nvPr userDrawn="1"/>
        </p:nvGrpSpPr>
        <p:grpSpPr>
          <a:xfrm>
            <a:off x="7191542" y="1"/>
            <a:ext cx="5000459" cy="1425992"/>
            <a:chOff x="7191542" y="1"/>
            <a:chExt cx="5000459" cy="1425992"/>
          </a:xfrm>
        </p:grpSpPr>
        <p:pic>
          <p:nvPicPr>
            <p:cNvPr id="23" name="Picture 22">
              <a:extLst>
                <a:ext uri="{FF2B5EF4-FFF2-40B4-BE49-F238E27FC236}">
                  <a16:creationId xmlns:a16="http://schemas.microsoft.com/office/drawing/2014/main" id="{ABFC1EB7-14FE-F440-B28D-33144EBA3692}"/>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24" name="Group 23">
              <a:extLst>
                <a:ext uri="{FF2B5EF4-FFF2-40B4-BE49-F238E27FC236}">
                  <a16:creationId xmlns:a16="http://schemas.microsoft.com/office/drawing/2014/main" id="{3ED010AE-CEE8-BB43-819D-3EBFCBB9EFD3}"/>
                </a:ext>
              </a:extLst>
            </p:cNvPr>
            <p:cNvGrpSpPr/>
            <p:nvPr userDrawn="1"/>
          </p:nvGrpSpPr>
          <p:grpSpPr>
            <a:xfrm>
              <a:off x="7191542" y="1"/>
              <a:ext cx="5000459" cy="1425992"/>
              <a:chOff x="7186272" y="0"/>
              <a:chExt cx="5005729" cy="1427495"/>
            </a:xfrm>
          </p:grpSpPr>
          <p:sp>
            <p:nvSpPr>
              <p:cNvPr id="25" name="Freeform 24">
                <a:extLst>
                  <a:ext uri="{FF2B5EF4-FFF2-40B4-BE49-F238E27FC236}">
                    <a16:creationId xmlns:a16="http://schemas.microsoft.com/office/drawing/2014/main" id="{9A713DF7-12D7-3D45-B2CD-079A5CCC5483}"/>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26" name="Freeform 25">
                <a:extLst>
                  <a:ext uri="{FF2B5EF4-FFF2-40B4-BE49-F238E27FC236}">
                    <a16:creationId xmlns:a16="http://schemas.microsoft.com/office/drawing/2014/main" id="{695853EB-958A-914B-9546-97D42C496E2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
        <p:nvSpPr>
          <p:cNvPr id="2" name="Title 1">
            <a:extLst>
              <a:ext uri="{FF2B5EF4-FFF2-40B4-BE49-F238E27FC236}">
                <a16:creationId xmlns:a16="http://schemas.microsoft.com/office/drawing/2014/main" id="{2BE3FC36-DEB7-3740-8AEF-68A110313512}"/>
              </a:ext>
            </a:extLst>
          </p:cNvPr>
          <p:cNvSpPr>
            <a:spLocks noGrp="1"/>
          </p:cNvSpPr>
          <p:nvPr>
            <p:ph type="title"/>
          </p:nvPr>
        </p:nvSpPr>
        <p:spPr/>
        <p:txBody>
          <a:bodyPr/>
          <a:lstStyle/>
          <a:p>
            <a:r>
              <a:rPr lang="en-US"/>
              <a:t>Click to edit Master title style</a:t>
            </a:r>
          </a:p>
        </p:txBody>
      </p:sp>
      <p:sp>
        <p:nvSpPr>
          <p:cNvPr id="6" name="Slide Number Placeholder 5">
            <a:extLst>
              <a:ext uri="{FF2B5EF4-FFF2-40B4-BE49-F238E27FC236}">
                <a16:creationId xmlns:a16="http://schemas.microsoft.com/office/drawing/2014/main" id="{224D4A52-97EB-E843-9C46-8B20FA301A55}"/>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7" name="Straight Connector 6">
            <a:extLst>
              <a:ext uri="{FF2B5EF4-FFF2-40B4-BE49-F238E27FC236}">
                <a16:creationId xmlns:a16="http://schemas.microsoft.com/office/drawing/2014/main" id="{0997EC28-0E19-EA46-AB10-B1454BC5BB86}"/>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3" name="Footer Placeholder 2">
            <a:extLst>
              <a:ext uri="{FF2B5EF4-FFF2-40B4-BE49-F238E27FC236}">
                <a16:creationId xmlns:a16="http://schemas.microsoft.com/office/drawing/2014/main" id="{EA48F442-B148-9C40-99E4-49DEFBC2AF4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23414839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End">
    <p:spTree>
      <p:nvGrpSpPr>
        <p:cNvPr id="1" name=""/>
        <p:cNvGrpSpPr/>
        <p:nvPr/>
      </p:nvGrpSpPr>
      <p:grpSpPr>
        <a:xfrm>
          <a:off x="0" y="0"/>
          <a:ext cx="0" cy="0"/>
          <a:chOff x="0" y="0"/>
          <a:chExt cx="0" cy="0"/>
        </a:xfrm>
      </p:grpSpPr>
      <p:grpSp>
        <p:nvGrpSpPr>
          <p:cNvPr id="42" name="Group 41">
            <a:extLst>
              <a:ext uri="{FF2B5EF4-FFF2-40B4-BE49-F238E27FC236}">
                <a16:creationId xmlns:a16="http://schemas.microsoft.com/office/drawing/2014/main" id="{A5A1B233-6B08-D748-B970-CE3044B1869E}"/>
              </a:ext>
            </a:extLst>
          </p:cNvPr>
          <p:cNvGrpSpPr/>
          <p:nvPr userDrawn="1"/>
        </p:nvGrpSpPr>
        <p:grpSpPr>
          <a:xfrm>
            <a:off x="0" y="0"/>
            <a:ext cx="12192000" cy="2148830"/>
            <a:chOff x="0" y="0"/>
            <a:chExt cx="12192000" cy="2148830"/>
          </a:xfrm>
        </p:grpSpPr>
        <p:sp>
          <p:nvSpPr>
            <p:cNvPr id="41" name="Freeform 40">
              <a:extLst>
                <a:ext uri="{FF2B5EF4-FFF2-40B4-BE49-F238E27FC236}">
                  <a16:creationId xmlns:a16="http://schemas.microsoft.com/office/drawing/2014/main" id="{FA74F784-A2AC-8240-BED1-2683425B68BF}"/>
                </a:ext>
              </a:extLst>
            </p:cNvPr>
            <p:cNvSpPr/>
            <p:nvPr userDrawn="1"/>
          </p:nvSpPr>
          <p:spPr>
            <a:xfrm flipH="1">
              <a:off x="0" y="0"/>
              <a:ext cx="12192000" cy="2148830"/>
            </a:xfrm>
            <a:custGeom>
              <a:avLst/>
              <a:gdLst>
                <a:gd name="connsiteX0" fmla="*/ 2318293 w 12192000"/>
                <a:gd name="connsiteY0" fmla="*/ 0 h 2148830"/>
                <a:gd name="connsiteX1" fmla="*/ 2110341 w 12192000"/>
                <a:gd name="connsiteY1" fmla="*/ 0 h 2148830"/>
                <a:gd name="connsiteX2" fmla="*/ 1952334 w 12192000"/>
                <a:gd name="connsiteY2" fmla="*/ 920 h 2148830"/>
                <a:gd name="connsiteX3" fmla="*/ 184205 w 12192000"/>
                <a:gd name="connsiteY3" fmla="*/ 435928 h 2148830"/>
                <a:gd name="connsiteX4" fmla="*/ 0 w 12192000"/>
                <a:gd name="connsiteY4" fmla="*/ 536864 h 2148830"/>
                <a:gd name="connsiteX5" fmla="*/ 0 w 12192000"/>
                <a:gd name="connsiteY5" fmla="*/ 554713 h 2148830"/>
                <a:gd name="connsiteX6" fmla="*/ 201115 w 12192000"/>
                <a:gd name="connsiteY6" fmla="*/ 452796 h 2148830"/>
                <a:gd name="connsiteX7" fmla="*/ 1947588 w 12192000"/>
                <a:gd name="connsiteY7" fmla="*/ 66249 h 2148830"/>
                <a:gd name="connsiteX8" fmla="*/ 4778140 w 12192000"/>
                <a:gd name="connsiteY8" fmla="*/ 604018 h 2148830"/>
                <a:gd name="connsiteX9" fmla="*/ 11996242 w 12192000"/>
                <a:gd name="connsiteY9" fmla="*/ 2036894 h 2148830"/>
                <a:gd name="connsiteX10" fmla="*/ 12192000 w 12192000"/>
                <a:gd name="connsiteY10" fmla="*/ 2002266 h 2148830"/>
                <a:gd name="connsiteX11" fmla="*/ 12192000 w 12192000"/>
                <a:gd name="connsiteY11" fmla="*/ 1415250 h 2148830"/>
                <a:gd name="connsiteX12" fmla="*/ 12022971 w 12192000"/>
                <a:gd name="connsiteY12" fmla="*/ 1470801 h 2148830"/>
                <a:gd name="connsiteX13" fmla="*/ 7970940 w 12192000"/>
                <a:gd name="connsiteY13" fmla="*/ 1436986 h 2148830"/>
                <a:gd name="connsiteX14" fmla="*/ 4800356 w 12192000"/>
                <a:gd name="connsiteY14" fmla="*/ 456582 h 2148830"/>
                <a:gd name="connsiteX15" fmla="*/ 2646880 w 12192000"/>
                <a:gd name="connsiteY15" fmla="*/ 17560 h 21488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2192000" h="2148830">
                  <a:moveTo>
                    <a:pt x="2318293" y="0"/>
                  </a:moveTo>
                  <a:lnTo>
                    <a:pt x="2110341" y="0"/>
                  </a:lnTo>
                  <a:lnTo>
                    <a:pt x="1952334" y="920"/>
                  </a:lnTo>
                  <a:cubicBezTo>
                    <a:pt x="1343499" y="23864"/>
                    <a:pt x="752130" y="152982"/>
                    <a:pt x="184205" y="435928"/>
                  </a:cubicBezTo>
                  <a:lnTo>
                    <a:pt x="0" y="536864"/>
                  </a:lnTo>
                  <a:lnTo>
                    <a:pt x="0" y="554713"/>
                  </a:lnTo>
                  <a:lnTo>
                    <a:pt x="201115" y="452796"/>
                  </a:lnTo>
                  <a:cubicBezTo>
                    <a:pt x="776357" y="187336"/>
                    <a:pt x="1349828" y="76760"/>
                    <a:pt x="1947588" y="66249"/>
                  </a:cubicBezTo>
                  <a:cubicBezTo>
                    <a:pt x="2962940" y="48421"/>
                    <a:pt x="3890218" y="291317"/>
                    <a:pt x="4778140" y="604018"/>
                  </a:cubicBezTo>
                  <a:cubicBezTo>
                    <a:pt x="7231510" y="1468126"/>
                    <a:pt x="9178927" y="2492024"/>
                    <a:pt x="11996242" y="2036894"/>
                  </a:cubicBezTo>
                  <a:lnTo>
                    <a:pt x="12192000" y="2002266"/>
                  </a:lnTo>
                  <a:lnTo>
                    <a:pt x="12192000" y="1415250"/>
                  </a:lnTo>
                  <a:lnTo>
                    <a:pt x="12022971" y="1470801"/>
                  </a:lnTo>
                  <a:cubicBezTo>
                    <a:pt x="10719696" y="1863939"/>
                    <a:pt x="9271154" y="1783804"/>
                    <a:pt x="7970940" y="1436986"/>
                  </a:cubicBezTo>
                  <a:cubicBezTo>
                    <a:pt x="6890984" y="1148958"/>
                    <a:pt x="5866930" y="767309"/>
                    <a:pt x="4800356" y="456582"/>
                  </a:cubicBezTo>
                  <a:cubicBezTo>
                    <a:pt x="4068903" y="243471"/>
                    <a:pt x="3348204" y="74251"/>
                    <a:pt x="2646880" y="17560"/>
                  </a:cubicBezTo>
                  <a:close/>
                </a:path>
              </a:pathLst>
            </a:custGeom>
            <a:gradFill flip="none" rotWithShape="1">
              <a:gsLst>
                <a:gs pos="0">
                  <a:schemeClr val="accent3">
                    <a:lumMod val="75000"/>
                  </a:schemeClr>
                </a:gs>
                <a:gs pos="75000">
                  <a:schemeClr val="accent3"/>
                </a:gs>
              </a:gsLst>
              <a:lin ang="0" scaled="1"/>
              <a:tileRect/>
            </a:gradFill>
            <a:ln w="6350" cap="flat">
              <a:noFill/>
              <a:prstDash val="solid"/>
              <a:miter/>
            </a:ln>
          </p:spPr>
          <p:txBody>
            <a:bodyPr rtlCol="0" anchor="ctr"/>
            <a:lstStyle/>
            <a:p>
              <a:endParaRPr lang="en-US"/>
            </a:p>
          </p:txBody>
        </p:sp>
        <p:sp>
          <p:nvSpPr>
            <p:cNvPr id="39" name="Freeform 38">
              <a:extLst>
                <a:ext uri="{FF2B5EF4-FFF2-40B4-BE49-F238E27FC236}">
                  <a16:creationId xmlns:a16="http://schemas.microsoft.com/office/drawing/2014/main" id="{EA28C7AD-68DD-D14D-853A-7EE56000E131}"/>
                </a:ext>
              </a:extLst>
            </p:cNvPr>
            <p:cNvSpPr/>
            <p:nvPr userDrawn="1"/>
          </p:nvSpPr>
          <p:spPr>
            <a:xfrm flipH="1">
              <a:off x="0" y="0"/>
              <a:ext cx="12192000" cy="1992138"/>
            </a:xfrm>
            <a:custGeom>
              <a:avLst/>
              <a:gdLst>
                <a:gd name="connsiteX0" fmla="*/ 2724271 w 12192000"/>
                <a:gd name="connsiteY0" fmla="*/ 0 h 1992138"/>
                <a:gd name="connsiteX1" fmla="*/ 1788442 w 12192000"/>
                <a:gd name="connsiteY1" fmla="*/ 0 h 1992138"/>
                <a:gd name="connsiteX2" fmla="*/ 1635403 w 12192000"/>
                <a:gd name="connsiteY2" fmla="*/ 12925 h 1992138"/>
                <a:gd name="connsiteX3" fmla="*/ 178220 w 12192000"/>
                <a:gd name="connsiteY3" fmla="*/ 451207 h 1992138"/>
                <a:gd name="connsiteX4" fmla="*/ 0 w 12192000"/>
                <a:gd name="connsiteY4" fmla="*/ 552718 h 1992138"/>
                <a:gd name="connsiteX5" fmla="*/ 0 w 12192000"/>
                <a:gd name="connsiteY5" fmla="*/ 570885 h 1992138"/>
                <a:gd name="connsiteX6" fmla="*/ 195368 w 12192000"/>
                <a:gd name="connsiteY6" fmla="*/ 467800 h 1992138"/>
                <a:gd name="connsiteX7" fmla="*/ 1934073 w 12192000"/>
                <a:gd name="connsiteY7" fmla="*/ 52850 h 1992138"/>
                <a:gd name="connsiteX8" fmla="*/ 4771217 w 12192000"/>
                <a:gd name="connsiteY8" fmla="*/ 543645 h 1992138"/>
                <a:gd name="connsiteX9" fmla="*/ 12007222 w 12192000"/>
                <a:gd name="connsiteY9" fmla="*/ 1856729 h 1992138"/>
                <a:gd name="connsiteX10" fmla="*/ 12192000 w 12192000"/>
                <a:gd name="connsiteY10" fmla="*/ 1820900 h 1992138"/>
                <a:gd name="connsiteX11" fmla="*/ 12192000 w 12192000"/>
                <a:gd name="connsiteY11" fmla="*/ 897073 h 1992138"/>
                <a:gd name="connsiteX12" fmla="*/ 12062517 w 12192000"/>
                <a:gd name="connsiteY12" fmla="*/ 950128 h 1992138"/>
                <a:gd name="connsiteX13" fmla="*/ 8435105 w 12192000"/>
                <a:gd name="connsiteY13" fmla="*/ 1266613 h 1992138"/>
                <a:gd name="connsiteX14" fmla="*/ 2948502 w 12192000"/>
                <a:gd name="connsiteY14" fmla="*/ 20548 h 19921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192000" h="1992138">
                  <a:moveTo>
                    <a:pt x="2724271" y="0"/>
                  </a:moveTo>
                  <a:lnTo>
                    <a:pt x="1788442" y="0"/>
                  </a:lnTo>
                  <a:lnTo>
                    <a:pt x="1635403" y="12925"/>
                  </a:lnTo>
                  <a:cubicBezTo>
                    <a:pt x="1134241" y="70905"/>
                    <a:pt x="647221" y="207817"/>
                    <a:pt x="178220" y="451207"/>
                  </a:cubicBezTo>
                  <a:lnTo>
                    <a:pt x="0" y="552718"/>
                  </a:lnTo>
                  <a:lnTo>
                    <a:pt x="0" y="570885"/>
                  </a:lnTo>
                  <a:lnTo>
                    <a:pt x="195368" y="467800"/>
                  </a:lnTo>
                  <a:cubicBezTo>
                    <a:pt x="765758" y="193094"/>
                    <a:pt x="1336955" y="73179"/>
                    <a:pt x="1934073" y="52850"/>
                  </a:cubicBezTo>
                  <a:cubicBezTo>
                    <a:pt x="2948304" y="18310"/>
                    <a:pt x="3878878" y="245747"/>
                    <a:pt x="4771217" y="543645"/>
                  </a:cubicBezTo>
                  <a:cubicBezTo>
                    <a:pt x="7236913" y="1366709"/>
                    <a:pt x="9199689" y="2357774"/>
                    <a:pt x="12007222" y="1856729"/>
                  </a:cubicBezTo>
                  <a:lnTo>
                    <a:pt x="12192000" y="1820900"/>
                  </a:lnTo>
                  <a:lnTo>
                    <a:pt x="12192000" y="897073"/>
                  </a:lnTo>
                  <a:lnTo>
                    <a:pt x="12062517" y="950128"/>
                  </a:lnTo>
                  <a:cubicBezTo>
                    <a:pt x="10950292" y="1376478"/>
                    <a:pt x="9595706" y="1466451"/>
                    <a:pt x="8435105" y="1266613"/>
                  </a:cubicBezTo>
                  <a:cubicBezTo>
                    <a:pt x="6618389" y="953715"/>
                    <a:pt x="4735222" y="130088"/>
                    <a:pt x="2948502" y="20548"/>
                  </a:cubicBezTo>
                  <a:close/>
                </a:path>
              </a:pathLst>
            </a:custGeom>
            <a:solidFill>
              <a:srgbClr val="00498F"/>
            </a:solidFill>
            <a:ln w="6350" cap="flat">
              <a:noFill/>
              <a:prstDash val="solid"/>
              <a:miter/>
            </a:ln>
          </p:spPr>
          <p:txBody>
            <a:bodyPr rtlCol="0" anchor="ctr"/>
            <a:lstStyle/>
            <a:p>
              <a:endParaRPr lang="en-US"/>
            </a:p>
          </p:txBody>
        </p:sp>
      </p:grpSp>
      <p:sp>
        <p:nvSpPr>
          <p:cNvPr id="4" name="Rectangle 3">
            <a:extLst>
              <a:ext uri="{FF2B5EF4-FFF2-40B4-BE49-F238E27FC236}">
                <a16:creationId xmlns:a16="http://schemas.microsoft.com/office/drawing/2014/main" id="{2D9A6F3B-C34E-6A49-A4DF-7F791974B589}"/>
              </a:ext>
            </a:extLst>
          </p:cNvPr>
          <p:cNvSpPr/>
          <p:nvPr userDrawn="1"/>
        </p:nvSpPr>
        <p:spPr>
          <a:xfrm>
            <a:off x="902368" y="1517697"/>
            <a:ext cx="11289632" cy="382260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Content Placeholder 2">
            <a:extLst>
              <a:ext uri="{FF2B5EF4-FFF2-40B4-BE49-F238E27FC236}">
                <a16:creationId xmlns:a16="http://schemas.microsoft.com/office/drawing/2014/main" id="{8C1CADB4-372A-5B4F-9CF0-0AB73DECC3E3}"/>
              </a:ext>
            </a:extLst>
          </p:cNvPr>
          <p:cNvSpPr>
            <a:spLocks noGrp="1"/>
          </p:cNvSpPr>
          <p:nvPr userDrawn="1">
            <p:ph idx="1"/>
          </p:nvPr>
        </p:nvSpPr>
        <p:spPr>
          <a:xfrm>
            <a:off x="1219201" y="3429000"/>
            <a:ext cx="5582652" cy="1413563"/>
          </a:xfrm>
        </p:spPr>
        <p:txBody>
          <a:bodyPr numCol="2">
            <a:noAutofit/>
          </a:bodyPr>
          <a:lstStyle>
            <a:lvl1pPr marL="0" indent="0">
              <a:buNone/>
              <a:defRPr sz="2000"/>
            </a:lvl1pPr>
          </a:lstStyle>
          <a:p>
            <a:pPr lvl="0"/>
            <a:r>
              <a:rPr lang="en-US"/>
              <a:t>Click to edit Master text styles</a:t>
            </a:r>
          </a:p>
        </p:txBody>
      </p:sp>
      <p:sp>
        <p:nvSpPr>
          <p:cNvPr id="16" name="Title 11">
            <a:extLst>
              <a:ext uri="{FF2B5EF4-FFF2-40B4-BE49-F238E27FC236}">
                <a16:creationId xmlns:a16="http://schemas.microsoft.com/office/drawing/2014/main" id="{1FDEA4A9-7D37-224B-988B-55B2879E8CB6}"/>
              </a:ext>
            </a:extLst>
          </p:cNvPr>
          <p:cNvSpPr>
            <a:spLocks noGrp="1"/>
          </p:cNvSpPr>
          <p:nvPr userDrawn="1">
            <p:ph type="ctrTitle" hasCustomPrompt="1"/>
          </p:nvPr>
        </p:nvSpPr>
        <p:spPr>
          <a:xfrm>
            <a:off x="1219200" y="1887490"/>
            <a:ext cx="5582652" cy="1078262"/>
          </a:xfrm>
        </p:spPr>
        <p:txBody>
          <a:bodyPr>
            <a:noAutofit/>
          </a:bodyPr>
          <a:lstStyle>
            <a:lvl1pPr>
              <a:defRPr sz="6000"/>
            </a:lvl1pPr>
          </a:lstStyle>
          <a:p>
            <a:r>
              <a:rPr lang="en-US"/>
              <a:t>Thank you</a:t>
            </a:r>
          </a:p>
        </p:txBody>
      </p:sp>
      <p:pic>
        <p:nvPicPr>
          <p:cNvPr id="33" name="Picture 32">
            <a:extLst>
              <a:ext uri="{FF2B5EF4-FFF2-40B4-BE49-F238E27FC236}">
                <a16:creationId xmlns:a16="http://schemas.microsoft.com/office/drawing/2014/main" id="{5B035CE6-43FF-944E-A9C4-8AB87E8081D5}"/>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02368" y="228371"/>
            <a:ext cx="2025315" cy="911940"/>
          </a:xfrm>
          <a:prstGeom prst="rect">
            <a:avLst/>
          </a:prstGeom>
        </p:spPr>
      </p:pic>
      <p:sp>
        <p:nvSpPr>
          <p:cNvPr id="17" name="Picture Placeholder 16">
            <a:extLst>
              <a:ext uri="{FF2B5EF4-FFF2-40B4-BE49-F238E27FC236}">
                <a16:creationId xmlns:a16="http://schemas.microsoft.com/office/drawing/2014/main" id="{9E66F78A-F643-F64B-A208-E625F6807592}"/>
              </a:ext>
            </a:extLst>
          </p:cNvPr>
          <p:cNvSpPr>
            <a:spLocks noGrp="1"/>
          </p:cNvSpPr>
          <p:nvPr>
            <p:ph type="pic" sz="quarter" idx="11"/>
          </p:nvPr>
        </p:nvSpPr>
        <p:spPr>
          <a:xfrm>
            <a:off x="7118684" y="233915"/>
            <a:ext cx="5073316" cy="5943600"/>
          </a:xfrm>
          <a:custGeom>
            <a:avLst/>
            <a:gdLst>
              <a:gd name="connsiteX0" fmla="*/ 2971800 w 5073316"/>
              <a:gd name="connsiteY0" fmla="*/ 0 h 5943600"/>
              <a:gd name="connsiteX1" fmla="*/ 5073180 w 5073316"/>
              <a:gd name="connsiteY1" fmla="*/ 870420 h 5943600"/>
              <a:gd name="connsiteX2" fmla="*/ 5073316 w 5073316"/>
              <a:gd name="connsiteY2" fmla="*/ 870570 h 5943600"/>
              <a:gd name="connsiteX3" fmla="*/ 5073316 w 5073316"/>
              <a:gd name="connsiteY3" fmla="*/ 5073031 h 5943600"/>
              <a:gd name="connsiteX4" fmla="*/ 5073180 w 5073316"/>
              <a:gd name="connsiteY4" fmla="*/ 5073180 h 5943600"/>
              <a:gd name="connsiteX5" fmla="*/ 2971800 w 5073316"/>
              <a:gd name="connsiteY5" fmla="*/ 5943600 h 5943600"/>
              <a:gd name="connsiteX6" fmla="*/ 0 w 5073316"/>
              <a:gd name="connsiteY6" fmla="*/ 2971800 h 5943600"/>
              <a:gd name="connsiteX7" fmla="*/ 2971800 w 5073316"/>
              <a:gd name="connsiteY7" fmla="*/ 0 h 59436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073316" h="5943600">
                <a:moveTo>
                  <a:pt x="2971800" y="0"/>
                </a:moveTo>
                <a:cubicBezTo>
                  <a:pt x="3792440" y="0"/>
                  <a:pt x="4535390" y="332630"/>
                  <a:pt x="5073180" y="870420"/>
                </a:cubicBezTo>
                <a:lnTo>
                  <a:pt x="5073316" y="870570"/>
                </a:lnTo>
                <a:lnTo>
                  <a:pt x="5073316" y="5073031"/>
                </a:lnTo>
                <a:lnTo>
                  <a:pt x="5073180" y="5073180"/>
                </a:lnTo>
                <a:cubicBezTo>
                  <a:pt x="4535390" y="5610970"/>
                  <a:pt x="3792440" y="5943600"/>
                  <a:pt x="2971800" y="5943600"/>
                </a:cubicBezTo>
                <a:cubicBezTo>
                  <a:pt x="1330520" y="5943600"/>
                  <a:pt x="0" y="4613080"/>
                  <a:pt x="0" y="2971800"/>
                </a:cubicBezTo>
                <a:cubicBezTo>
                  <a:pt x="0" y="1330520"/>
                  <a:pt x="1330520" y="0"/>
                  <a:pt x="2971800" y="0"/>
                </a:cubicBezTo>
                <a:close/>
              </a:path>
            </a:pathLst>
          </a:custGeom>
        </p:spPr>
        <p:txBody>
          <a:bodyPr wrap="square">
            <a:noAutofit/>
          </a:bodyPr>
          <a:lstStyle/>
          <a:p>
            <a:endParaRPr lang="en-US"/>
          </a:p>
        </p:txBody>
      </p:sp>
    </p:spTree>
    <p:extLst>
      <p:ext uri="{BB962C8B-B14F-4D97-AF65-F5344CB8AC3E}">
        <p14:creationId xmlns:p14="http://schemas.microsoft.com/office/powerpoint/2010/main" val="154151162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A2AA6B72-D286-A84D-A944-E84B7A48BB27}"/>
              </a:ext>
            </a:extLst>
          </p:cNvPr>
          <p:cNvSpPr>
            <a:spLocks noGrp="1"/>
          </p:cNvSpPr>
          <p:nvPr>
            <p:ph type="sldNum" sz="quarter" idx="10"/>
          </p:nvPr>
        </p:nvSpPr>
        <p:spPr>
          <a:xfrm>
            <a:off x="8839200" y="6356350"/>
            <a:ext cx="2743200" cy="365125"/>
          </a:xfrm>
          <a:prstGeom prst="rect">
            <a:avLst/>
          </a:prstGeom>
        </p:spPr>
        <p:txBody>
          <a:bodyPr/>
          <a:lstStyle/>
          <a:p>
            <a:fld id="{97033E4B-E3EB-3D46-B2D8-3159663620FA}" type="slidenum">
              <a:rPr lang="en-US" smtClean="0"/>
              <a:t>‹#›</a:t>
            </a:fld>
            <a:endParaRPr lang="en-US"/>
          </a:p>
        </p:txBody>
      </p:sp>
      <p:cxnSp>
        <p:nvCxnSpPr>
          <p:cNvPr id="4" name="Straight Connector 3">
            <a:extLst>
              <a:ext uri="{FF2B5EF4-FFF2-40B4-BE49-F238E27FC236}">
                <a16:creationId xmlns:a16="http://schemas.microsoft.com/office/drawing/2014/main" id="{941F6AC7-BD0D-6047-8D58-3BB5AA015113}"/>
              </a:ext>
            </a:extLst>
          </p:cNvPr>
          <p:cNvCxnSpPr>
            <a:cxnSpLocks/>
          </p:cNvCxnSpPr>
          <p:nvPr userDrawn="1"/>
        </p:nvCxnSpPr>
        <p:spPr>
          <a:xfrm>
            <a:off x="609600" y="6335713"/>
            <a:ext cx="10972800" cy="0"/>
          </a:xfrm>
          <a:prstGeom prst="line">
            <a:avLst/>
          </a:prstGeom>
          <a:ln>
            <a:solidFill>
              <a:schemeClr val="tx2">
                <a:lumMod val="60000"/>
                <a:lumOff val="40000"/>
              </a:schemeClr>
            </a:solidFill>
          </a:ln>
        </p:spPr>
        <p:style>
          <a:lnRef idx="1">
            <a:schemeClr val="accent1"/>
          </a:lnRef>
          <a:fillRef idx="0">
            <a:schemeClr val="accent1"/>
          </a:fillRef>
          <a:effectRef idx="0">
            <a:schemeClr val="accent1"/>
          </a:effectRef>
          <a:fontRef idx="minor">
            <a:schemeClr val="tx1"/>
          </a:fontRef>
        </p:style>
      </p:cxnSp>
      <p:sp>
        <p:nvSpPr>
          <p:cNvPr id="2" name="Footer Placeholder 1">
            <a:extLst>
              <a:ext uri="{FF2B5EF4-FFF2-40B4-BE49-F238E27FC236}">
                <a16:creationId xmlns:a16="http://schemas.microsoft.com/office/drawing/2014/main" id="{8C88CDF9-34F5-7C4F-9576-0121E06E1249}"/>
              </a:ext>
            </a:extLst>
          </p:cNvPr>
          <p:cNvSpPr>
            <a:spLocks noGrp="1"/>
          </p:cNvSpPr>
          <p:nvPr>
            <p:ph type="ftr" sz="quarter" idx="11"/>
          </p:nvPr>
        </p:nvSpPr>
        <p:spPr/>
        <p:txBody>
          <a:bodyPr/>
          <a:lstStyle/>
          <a:p>
            <a:pPr algn="l"/>
            <a:r>
              <a:rPr lang="en-US"/>
              <a:t>Illinois Perinatal Quality Collaborative</a:t>
            </a:r>
          </a:p>
        </p:txBody>
      </p:sp>
      <p:grpSp>
        <p:nvGrpSpPr>
          <p:cNvPr id="6" name="Group 5">
            <a:extLst>
              <a:ext uri="{FF2B5EF4-FFF2-40B4-BE49-F238E27FC236}">
                <a16:creationId xmlns:a16="http://schemas.microsoft.com/office/drawing/2014/main" id="{88917F51-C2BD-2041-BD9C-723045EB0732}"/>
              </a:ext>
            </a:extLst>
          </p:cNvPr>
          <p:cNvGrpSpPr/>
          <p:nvPr userDrawn="1"/>
        </p:nvGrpSpPr>
        <p:grpSpPr>
          <a:xfrm>
            <a:off x="7191542" y="1"/>
            <a:ext cx="5000459" cy="1425992"/>
            <a:chOff x="7191542" y="1"/>
            <a:chExt cx="5000459" cy="1425992"/>
          </a:xfrm>
        </p:grpSpPr>
        <p:pic>
          <p:nvPicPr>
            <p:cNvPr id="7" name="Picture 6">
              <a:extLst>
                <a:ext uri="{FF2B5EF4-FFF2-40B4-BE49-F238E27FC236}">
                  <a16:creationId xmlns:a16="http://schemas.microsoft.com/office/drawing/2014/main" id="{57215F3D-71E9-DC42-9643-CC837E165327}"/>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9264317" y="228371"/>
              <a:ext cx="2025315" cy="911940"/>
            </a:xfrm>
            <a:prstGeom prst="rect">
              <a:avLst/>
            </a:prstGeom>
          </p:spPr>
        </p:pic>
        <p:grpSp>
          <p:nvGrpSpPr>
            <p:cNvPr id="8" name="Group 7">
              <a:extLst>
                <a:ext uri="{FF2B5EF4-FFF2-40B4-BE49-F238E27FC236}">
                  <a16:creationId xmlns:a16="http://schemas.microsoft.com/office/drawing/2014/main" id="{C49BD97B-5D82-6041-A6B7-1455CCEEEEF0}"/>
                </a:ext>
              </a:extLst>
            </p:cNvPr>
            <p:cNvGrpSpPr/>
            <p:nvPr userDrawn="1"/>
          </p:nvGrpSpPr>
          <p:grpSpPr>
            <a:xfrm>
              <a:off x="7191542" y="1"/>
              <a:ext cx="5000459" cy="1425992"/>
              <a:chOff x="7186272" y="0"/>
              <a:chExt cx="5005729" cy="1427495"/>
            </a:xfrm>
          </p:grpSpPr>
          <p:sp>
            <p:nvSpPr>
              <p:cNvPr id="9" name="Freeform 8">
                <a:extLst>
                  <a:ext uri="{FF2B5EF4-FFF2-40B4-BE49-F238E27FC236}">
                    <a16:creationId xmlns:a16="http://schemas.microsoft.com/office/drawing/2014/main" id="{57FF3D03-9C74-6644-91E6-C9195014614E}"/>
                  </a:ext>
                </a:extLst>
              </p:cNvPr>
              <p:cNvSpPr/>
              <p:nvPr userDrawn="1"/>
            </p:nvSpPr>
            <p:spPr>
              <a:xfrm>
                <a:off x="7186272" y="0"/>
                <a:ext cx="5005729" cy="1427495"/>
              </a:xfrm>
              <a:custGeom>
                <a:avLst/>
                <a:gdLst>
                  <a:gd name="connsiteX0" fmla="*/ 0 w 5005729"/>
                  <a:gd name="connsiteY0" fmla="*/ 0 h 1427495"/>
                  <a:gd name="connsiteX1" fmla="*/ 165533 w 5005729"/>
                  <a:gd name="connsiteY1" fmla="*/ 0 h 1427495"/>
                  <a:gd name="connsiteX2" fmla="*/ 215699 w 5005729"/>
                  <a:gd name="connsiteY2" fmla="*/ 35841 h 1427495"/>
                  <a:gd name="connsiteX3" fmla="*/ 876476 w 5005729"/>
                  <a:gd name="connsiteY3" fmla="*/ 498295 h 1427495"/>
                  <a:gd name="connsiteX4" fmla="*/ 1566628 w 5005729"/>
                  <a:gd name="connsiteY4" fmla="*/ 910605 h 1427495"/>
                  <a:gd name="connsiteX5" fmla="*/ 2307294 w 5005729"/>
                  <a:gd name="connsiteY5" fmla="*/ 1218776 h 1427495"/>
                  <a:gd name="connsiteX6" fmla="*/ 2696502 w 5005729"/>
                  <a:gd name="connsiteY6" fmla="*/ 1318134 h 1427495"/>
                  <a:gd name="connsiteX7" fmla="*/ 3094217 w 5005729"/>
                  <a:gd name="connsiteY7" fmla="*/ 1375517 h 1427495"/>
                  <a:gd name="connsiteX8" fmla="*/ 3496186 w 5005729"/>
                  <a:gd name="connsiteY8" fmla="*/ 1391457 h 1427495"/>
                  <a:gd name="connsiteX9" fmla="*/ 3596679 w 5005729"/>
                  <a:gd name="connsiteY9" fmla="*/ 1388800 h 1427495"/>
                  <a:gd name="connsiteX10" fmla="*/ 3647191 w 5005729"/>
                  <a:gd name="connsiteY10" fmla="*/ 1387207 h 1427495"/>
                  <a:gd name="connsiteX11" fmla="*/ 3697703 w 5005729"/>
                  <a:gd name="connsiteY11" fmla="*/ 1384018 h 1427495"/>
                  <a:gd name="connsiteX12" fmla="*/ 3798195 w 5005729"/>
                  <a:gd name="connsiteY12" fmla="*/ 1377643 h 1427495"/>
                  <a:gd name="connsiteX13" fmla="*/ 3898687 w 5005729"/>
                  <a:gd name="connsiteY13" fmla="*/ 1367547 h 1427495"/>
                  <a:gd name="connsiteX14" fmla="*/ 3948667 w 5005729"/>
                  <a:gd name="connsiteY14" fmla="*/ 1362234 h 1427495"/>
                  <a:gd name="connsiteX15" fmla="*/ 3998648 w 5005729"/>
                  <a:gd name="connsiteY15" fmla="*/ 1355327 h 1427495"/>
                  <a:gd name="connsiteX16" fmla="*/ 4098609 w 5005729"/>
                  <a:gd name="connsiteY16" fmla="*/ 1341512 h 1427495"/>
                  <a:gd name="connsiteX17" fmla="*/ 4198037 w 5005729"/>
                  <a:gd name="connsiteY17" fmla="*/ 1324510 h 1427495"/>
                  <a:gd name="connsiteX18" fmla="*/ 4223027 w 5005729"/>
                  <a:gd name="connsiteY18" fmla="*/ 1320259 h 1427495"/>
                  <a:gd name="connsiteX19" fmla="*/ 4248017 w 5005729"/>
                  <a:gd name="connsiteY19" fmla="*/ 1315477 h 1427495"/>
                  <a:gd name="connsiteX20" fmla="*/ 4297466 w 5005729"/>
                  <a:gd name="connsiteY20" fmla="*/ 1305382 h 1427495"/>
                  <a:gd name="connsiteX21" fmla="*/ 4346915 w 5005729"/>
                  <a:gd name="connsiteY21" fmla="*/ 1295287 h 1427495"/>
                  <a:gd name="connsiteX22" fmla="*/ 4371374 w 5005729"/>
                  <a:gd name="connsiteY22" fmla="*/ 1289974 h 1427495"/>
                  <a:gd name="connsiteX23" fmla="*/ 4395831 w 5005729"/>
                  <a:gd name="connsiteY23" fmla="*/ 1284129 h 1427495"/>
                  <a:gd name="connsiteX24" fmla="*/ 4494197 w 5005729"/>
                  <a:gd name="connsiteY24" fmla="*/ 1260751 h 1427495"/>
                  <a:gd name="connsiteX25" fmla="*/ 4506426 w 5005729"/>
                  <a:gd name="connsiteY25" fmla="*/ 1258094 h 1427495"/>
                  <a:gd name="connsiteX26" fmla="*/ 4518656 w 5005729"/>
                  <a:gd name="connsiteY26" fmla="*/ 1254906 h 1427495"/>
                  <a:gd name="connsiteX27" fmla="*/ 4543113 w 5005729"/>
                  <a:gd name="connsiteY27" fmla="*/ 1248530 h 1427495"/>
                  <a:gd name="connsiteX28" fmla="*/ 4592031 w 5005729"/>
                  <a:gd name="connsiteY28" fmla="*/ 1235247 h 1427495"/>
                  <a:gd name="connsiteX29" fmla="*/ 4640948 w 5005729"/>
                  <a:gd name="connsiteY29" fmla="*/ 1221963 h 1427495"/>
                  <a:gd name="connsiteX30" fmla="*/ 4689332 w 5005729"/>
                  <a:gd name="connsiteY30" fmla="*/ 1207618 h 1427495"/>
                  <a:gd name="connsiteX31" fmla="*/ 4881644 w 5005729"/>
                  <a:gd name="connsiteY31" fmla="*/ 1145934 h 1427495"/>
                  <a:gd name="connsiteX32" fmla="*/ 5005729 w 5005729"/>
                  <a:gd name="connsiteY32" fmla="*/ 1100085 h 1427495"/>
                  <a:gd name="connsiteX33" fmla="*/ 5005729 w 5005729"/>
                  <a:gd name="connsiteY33" fmla="*/ 1108460 h 1427495"/>
                  <a:gd name="connsiteX34" fmla="*/ 4884859 w 5005729"/>
                  <a:gd name="connsiteY34" fmla="*/ 1155423 h 1427495"/>
                  <a:gd name="connsiteX35" fmla="*/ 4693055 w 5005729"/>
                  <a:gd name="connsiteY35" fmla="*/ 1220370 h 1427495"/>
                  <a:gd name="connsiteX36" fmla="*/ 4644670 w 5005729"/>
                  <a:gd name="connsiteY36" fmla="*/ 1235778 h 1427495"/>
                  <a:gd name="connsiteX37" fmla="*/ 4596284 w 5005729"/>
                  <a:gd name="connsiteY37" fmla="*/ 1250124 h 1427495"/>
                  <a:gd name="connsiteX38" fmla="*/ 4547367 w 5005729"/>
                  <a:gd name="connsiteY38" fmla="*/ 1263938 h 1427495"/>
                  <a:gd name="connsiteX39" fmla="*/ 4522910 w 5005729"/>
                  <a:gd name="connsiteY39" fmla="*/ 1270846 h 1427495"/>
                  <a:gd name="connsiteX40" fmla="*/ 4510680 w 5005729"/>
                  <a:gd name="connsiteY40" fmla="*/ 1274565 h 1427495"/>
                  <a:gd name="connsiteX41" fmla="*/ 4498451 w 5005729"/>
                  <a:gd name="connsiteY41" fmla="*/ 1277753 h 1427495"/>
                  <a:gd name="connsiteX42" fmla="*/ 4400085 w 5005729"/>
                  <a:gd name="connsiteY42" fmla="*/ 1302725 h 1427495"/>
                  <a:gd name="connsiteX43" fmla="*/ 4375626 w 5005729"/>
                  <a:gd name="connsiteY43" fmla="*/ 1309101 h 1427495"/>
                  <a:gd name="connsiteX44" fmla="*/ 4351169 w 5005729"/>
                  <a:gd name="connsiteY44" fmla="*/ 1314415 h 1427495"/>
                  <a:gd name="connsiteX45" fmla="*/ 4301720 w 5005729"/>
                  <a:gd name="connsiteY45" fmla="*/ 1325572 h 1427495"/>
                  <a:gd name="connsiteX46" fmla="*/ 4252271 w 5005729"/>
                  <a:gd name="connsiteY46" fmla="*/ 1336730 h 1427495"/>
                  <a:gd name="connsiteX47" fmla="*/ 4227281 w 5005729"/>
                  <a:gd name="connsiteY47" fmla="*/ 1342044 h 1427495"/>
                  <a:gd name="connsiteX48" fmla="*/ 4202291 w 5005729"/>
                  <a:gd name="connsiteY48" fmla="*/ 1346825 h 1427495"/>
                  <a:gd name="connsiteX49" fmla="*/ 4102862 w 5005729"/>
                  <a:gd name="connsiteY49" fmla="*/ 1365422 h 1427495"/>
                  <a:gd name="connsiteX50" fmla="*/ 4002902 w 5005729"/>
                  <a:gd name="connsiteY50" fmla="*/ 1380831 h 1427495"/>
                  <a:gd name="connsiteX51" fmla="*/ 3952921 w 5005729"/>
                  <a:gd name="connsiteY51" fmla="*/ 1388800 h 1427495"/>
                  <a:gd name="connsiteX52" fmla="*/ 3902409 w 5005729"/>
                  <a:gd name="connsiteY52" fmla="*/ 1394645 h 1427495"/>
                  <a:gd name="connsiteX53" fmla="*/ 3801917 w 5005729"/>
                  <a:gd name="connsiteY53" fmla="*/ 1406334 h 1427495"/>
                  <a:gd name="connsiteX54" fmla="*/ 3700893 w 5005729"/>
                  <a:gd name="connsiteY54" fmla="*/ 1414836 h 1427495"/>
                  <a:gd name="connsiteX55" fmla="*/ 3650381 w 5005729"/>
                  <a:gd name="connsiteY55" fmla="*/ 1419086 h 1427495"/>
                  <a:gd name="connsiteX56" fmla="*/ 3599869 w 5005729"/>
                  <a:gd name="connsiteY56" fmla="*/ 1421743 h 1427495"/>
                  <a:gd name="connsiteX57" fmla="*/ 3498313 w 5005729"/>
                  <a:gd name="connsiteY57" fmla="*/ 1425993 h 1427495"/>
                  <a:gd name="connsiteX58" fmla="*/ 3092622 w 5005729"/>
                  <a:gd name="connsiteY58" fmla="*/ 1416430 h 1427495"/>
                  <a:gd name="connsiteX59" fmla="*/ 2689590 w 5005729"/>
                  <a:gd name="connsiteY59" fmla="*/ 1364891 h 1427495"/>
                  <a:gd name="connsiteX60" fmla="*/ 2294001 w 5005729"/>
                  <a:gd name="connsiteY60" fmla="*/ 1270846 h 1427495"/>
                  <a:gd name="connsiteX61" fmla="*/ 1538448 w 5005729"/>
                  <a:gd name="connsiteY61" fmla="*/ 971177 h 1427495"/>
                  <a:gd name="connsiteX62" fmla="*/ 834471 w 5005729"/>
                  <a:gd name="connsiteY62" fmla="*/ 566305 h 1427495"/>
                  <a:gd name="connsiteX63" fmla="*/ 163459 w 5005729"/>
                  <a:gd name="connsiteY63" fmla="*/ 112750 h 1427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Lst>
                <a:rect l="l" t="t" r="r" b="b"/>
                <a:pathLst>
                  <a:path w="5005729" h="1427495">
                    <a:moveTo>
                      <a:pt x="0" y="0"/>
                    </a:moveTo>
                    <a:lnTo>
                      <a:pt x="165533" y="0"/>
                    </a:lnTo>
                    <a:lnTo>
                      <a:pt x="215699" y="35841"/>
                    </a:lnTo>
                    <a:cubicBezTo>
                      <a:pt x="434496" y="193047"/>
                      <a:pt x="652894" y="349789"/>
                      <a:pt x="876476" y="498295"/>
                    </a:cubicBezTo>
                    <a:cubicBezTo>
                      <a:pt x="1099792" y="647067"/>
                      <a:pt x="1328957" y="787337"/>
                      <a:pt x="1566628" y="910605"/>
                    </a:cubicBezTo>
                    <a:cubicBezTo>
                      <a:pt x="1804301" y="1033874"/>
                      <a:pt x="2051544" y="1139076"/>
                      <a:pt x="2307294" y="1218776"/>
                    </a:cubicBezTo>
                    <a:cubicBezTo>
                      <a:pt x="2434903" y="1258625"/>
                      <a:pt x="2565171" y="1291568"/>
                      <a:pt x="2696502" y="1318134"/>
                    </a:cubicBezTo>
                    <a:cubicBezTo>
                      <a:pt x="2827833" y="1344700"/>
                      <a:pt x="2960760" y="1363297"/>
                      <a:pt x="3094217" y="1375517"/>
                    </a:cubicBezTo>
                    <a:cubicBezTo>
                      <a:pt x="3227675" y="1387738"/>
                      <a:pt x="3361665" y="1393051"/>
                      <a:pt x="3496186" y="1391457"/>
                    </a:cubicBezTo>
                    <a:lnTo>
                      <a:pt x="3596679" y="1388800"/>
                    </a:lnTo>
                    <a:cubicBezTo>
                      <a:pt x="3613693" y="1388269"/>
                      <a:pt x="3630176" y="1388269"/>
                      <a:pt x="3647191" y="1387207"/>
                    </a:cubicBezTo>
                    <a:lnTo>
                      <a:pt x="3697703" y="1384018"/>
                    </a:lnTo>
                    <a:lnTo>
                      <a:pt x="3798195" y="1377643"/>
                    </a:lnTo>
                    <a:lnTo>
                      <a:pt x="3898687" y="1367547"/>
                    </a:lnTo>
                    <a:lnTo>
                      <a:pt x="3948667" y="1362234"/>
                    </a:lnTo>
                    <a:lnTo>
                      <a:pt x="3998648" y="1355327"/>
                    </a:lnTo>
                    <a:cubicBezTo>
                      <a:pt x="4032146" y="1350545"/>
                      <a:pt x="4065111" y="1346294"/>
                      <a:pt x="4098609" y="1341512"/>
                    </a:cubicBezTo>
                    <a:lnTo>
                      <a:pt x="4198037" y="1324510"/>
                    </a:lnTo>
                    <a:lnTo>
                      <a:pt x="4223027" y="1320259"/>
                    </a:lnTo>
                    <a:cubicBezTo>
                      <a:pt x="4231535" y="1318665"/>
                      <a:pt x="4239511" y="1317602"/>
                      <a:pt x="4248017" y="1315477"/>
                    </a:cubicBezTo>
                    <a:lnTo>
                      <a:pt x="4297466" y="1305382"/>
                    </a:lnTo>
                    <a:lnTo>
                      <a:pt x="4346915" y="1295287"/>
                    </a:lnTo>
                    <a:lnTo>
                      <a:pt x="4371374" y="1289974"/>
                    </a:lnTo>
                    <a:cubicBezTo>
                      <a:pt x="4379349" y="1288379"/>
                      <a:pt x="4387856" y="1286254"/>
                      <a:pt x="4395831" y="1284129"/>
                    </a:cubicBezTo>
                    <a:lnTo>
                      <a:pt x="4494197" y="1260751"/>
                    </a:lnTo>
                    <a:lnTo>
                      <a:pt x="4506426" y="1258094"/>
                    </a:lnTo>
                    <a:lnTo>
                      <a:pt x="4518656" y="1254906"/>
                    </a:lnTo>
                    <a:lnTo>
                      <a:pt x="4543113" y="1248530"/>
                    </a:lnTo>
                    <a:lnTo>
                      <a:pt x="4592031" y="1235247"/>
                    </a:lnTo>
                    <a:cubicBezTo>
                      <a:pt x="4607983" y="1230996"/>
                      <a:pt x="4624465" y="1226746"/>
                      <a:pt x="4640948" y="1221963"/>
                    </a:cubicBezTo>
                    <a:lnTo>
                      <a:pt x="4689332" y="1207618"/>
                    </a:lnTo>
                    <a:cubicBezTo>
                      <a:pt x="4753935" y="1188490"/>
                      <a:pt x="4818038" y="1167901"/>
                      <a:pt x="4881644" y="1145934"/>
                    </a:cubicBezTo>
                    <a:lnTo>
                      <a:pt x="5005729" y="1100085"/>
                    </a:lnTo>
                    <a:lnTo>
                      <a:pt x="5005729" y="1108460"/>
                    </a:lnTo>
                    <a:lnTo>
                      <a:pt x="4884859" y="1155423"/>
                    </a:lnTo>
                    <a:cubicBezTo>
                      <a:pt x="4821462" y="1178495"/>
                      <a:pt x="4757524" y="1200180"/>
                      <a:pt x="4693055" y="1220370"/>
                    </a:cubicBezTo>
                    <a:lnTo>
                      <a:pt x="4644670" y="1235778"/>
                    </a:lnTo>
                    <a:cubicBezTo>
                      <a:pt x="4628719" y="1240560"/>
                      <a:pt x="4612235" y="1245342"/>
                      <a:pt x="4596284" y="1250124"/>
                    </a:cubicBezTo>
                    <a:lnTo>
                      <a:pt x="4547367" y="1263938"/>
                    </a:lnTo>
                    <a:lnTo>
                      <a:pt x="4522910" y="1270846"/>
                    </a:lnTo>
                    <a:lnTo>
                      <a:pt x="4510680" y="1274565"/>
                    </a:lnTo>
                    <a:lnTo>
                      <a:pt x="4498451" y="1277753"/>
                    </a:lnTo>
                    <a:lnTo>
                      <a:pt x="4400085" y="1302725"/>
                    </a:lnTo>
                    <a:cubicBezTo>
                      <a:pt x="4392110" y="1304851"/>
                      <a:pt x="4383602" y="1306976"/>
                      <a:pt x="4375626" y="1309101"/>
                    </a:cubicBezTo>
                    <a:lnTo>
                      <a:pt x="4351169" y="1314415"/>
                    </a:lnTo>
                    <a:lnTo>
                      <a:pt x="4301720" y="1325572"/>
                    </a:lnTo>
                    <a:lnTo>
                      <a:pt x="4252271" y="1336730"/>
                    </a:lnTo>
                    <a:cubicBezTo>
                      <a:pt x="4244295" y="1338856"/>
                      <a:pt x="4235789" y="1340450"/>
                      <a:pt x="4227281" y="1342044"/>
                    </a:cubicBezTo>
                    <a:lnTo>
                      <a:pt x="4202291" y="1346825"/>
                    </a:lnTo>
                    <a:lnTo>
                      <a:pt x="4102862" y="1365422"/>
                    </a:lnTo>
                    <a:cubicBezTo>
                      <a:pt x="4069365" y="1370735"/>
                      <a:pt x="4035867" y="1375517"/>
                      <a:pt x="4002902" y="1380831"/>
                    </a:cubicBezTo>
                    <a:lnTo>
                      <a:pt x="3952921" y="1388800"/>
                    </a:lnTo>
                    <a:lnTo>
                      <a:pt x="3902409" y="1394645"/>
                    </a:lnTo>
                    <a:lnTo>
                      <a:pt x="3801917" y="1406334"/>
                    </a:lnTo>
                    <a:lnTo>
                      <a:pt x="3700893" y="1414836"/>
                    </a:lnTo>
                    <a:lnTo>
                      <a:pt x="3650381" y="1419086"/>
                    </a:lnTo>
                    <a:cubicBezTo>
                      <a:pt x="3633367" y="1420680"/>
                      <a:pt x="3616352" y="1420680"/>
                      <a:pt x="3599869" y="1421743"/>
                    </a:cubicBezTo>
                    <a:lnTo>
                      <a:pt x="3498313" y="1425993"/>
                    </a:lnTo>
                    <a:cubicBezTo>
                      <a:pt x="3363260" y="1429713"/>
                      <a:pt x="3227675" y="1426525"/>
                      <a:pt x="3092622" y="1416430"/>
                    </a:cubicBezTo>
                    <a:cubicBezTo>
                      <a:pt x="2957569" y="1406334"/>
                      <a:pt x="2823048" y="1389863"/>
                      <a:pt x="2689590" y="1364891"/>
                    </a:cubicBezTo>
                    <a:cubicBezTo>
                      <a:pt x="2556131" y="1340450"/>
                      <a:pt x="2424269" y="1308570"/>
                      <a:pt x="2294001" y="1270846"/>
                    </a:cubicBezTo>
                    <a:cubicBezTo>
                      <a:pt x="2033466" y="1194866"/>
                      <a:pt x="1781438" y="1091788"/>
                      <a:pt x="1538448" y="971177"/>
                    </a:cubicBezTo>
                    <a:cubicBezTo>
                      <a:pt x="1295459" y="850565"/>
                      <a:pt x="1062040" y="712420"/>
                      <a:pt x="834471" y="566305"/>
                    </a:cubicBezTo>
                    <a:cubicBezTo>
                      <a:pt x="606901" y="420190"/>
                      <a:pt x="384914" y="266371"/>
                      <a:pt x="163459" y="112750"/>
                    </a:cubicBezTo>
                    <a:close/>
                  </a:path>
                </a:pathLst>
              </a:custGeom>
              <a:gradFill>
                <a:gsLst>
                  <a:gs pos="0">
                    <a:schemeClr val="accent3">
                      <a:lumMod val="75000"/>
                    </a:schemeClr>
                  </a:gs>
                  <a:gs pos="20000">
                    <a:schemeClr val="accent3"/>
                  </a:gs>
                </a:gsLst>
                <a:lin ang="0" scaled="1"/>
              </a:gradFill>
              <a:ln w="5317" cap="flat">
                <a:noFill/>
                <a:prstDash val="solid"/>
                <a:miter/>
              </a:ln>
            </p:spPr>
            <p:txBody>
              <a:bodyPr rtlCol="0" anchor="ctr"/>
              <a:lstStyle/>
              <a:p>
                <a:endParaRPr lang="en-US"/>
              </a:p>
            </p:txBody>
          </p:sp>
          <p:sp>
            <p:nvSpPr>
              <p:cNvPr id="10" name="Freeform 9">
                <a:extLst>
                  <a:ext uri="{FF2B5EF4-FFF2-40B4-BE49-F238E27FC236}">
                    <a16:creationId xmlns:a16="http://schemas.microsoft.com/office/drawing/2014/main" id="{A11D9CF5-1D92-B64F-8C97-3B5F602E2EBD}"/>
                  </a:ext>
                </a:extLst>
              </p:cNvPr>
              <p:cNvSpPr/>
              <p:nvPr/>
            </p:nvSpPr>
            <p:spPr>
              <a:xfrm>
                <a:off x="7330180" y="0"/>
                <a:ext cx="4861820" cy="1389331"/>
              </a:xfrm>
              <a:custGeom>
                <a:avLst/>
                <a:gdLst>
                  <a:gd name="connsiteX0" fmla="*/ 0 w 4861820"/>
                  <a:gd name="connsiteY0" fmla="*/ 0 h 1389331"/>
                  <a:gd name="connsiteX1" fmla="*/ 229890 w 4861820"/>
                  <a:gd name="connsiteY1" fmla="*/ 0 h 1389331"/>
                  <a:gd name="connsiteX2" fmla="*/ 373317 w 4861820"/>
                  <a:gd name="connsiteY2" fmla="*/ 108292 h 1389331"/>
                  <a:gd name="connsiteX3" fmla="*/ 702260 w 4861820"/>
                  <a:gd name="connsiteY3" fmla="*/ 348992 h 1389331"/>
                  <a:gd name="connsiteX4" fmla="*/ 1384969 w 4861820"/>
                  <a:gd name="connsiteY4" fmla="*/ 788400 h 1389331"/>
                  <a:gd name="connsiteX5" fmla="*/ 2120849 w 4861820"/>
                  <a:gd name="connsiteY5" fmla="*/ 1125262 h 1389331"/>
                  <a:gd name="connsiteX6" fmla="*/ 3720750 w 4861820"/>
                  <a:gd name="connsiteY6" fmla="*/ 1329823 h 1389331"/>
                  <a:gd name="connsiteX7" fmla="*/ 3771794 w 4861820"/>
                  <a:gd name="connsiteY7" fmla="*/ 1326104 h 1389331"/>
                  <a:gd name="connsiteX8" fmla="*/ 3822306 w 4861820"/>
                  <a:gd name="connsiteY8" fmla="*/ 1320790 h 1389331"/>
                  <a:gd name="connsiteX9" fmla="*/ 3872818 w 4861820"/>
                  <a:gd name="connsiteY9" fmla="*/ 1315477 h 1389331"/>
                  <a:gd name="connsiteX10" fmla="*/ 3898339 w 4861820"/>
                  <a:gd name="connsiteY10" fmla="*/ 1312820 h 1389331"/>
                  <a:gd name="connsiteX11" fmla="*/ 3923861 w 4861820"/>
                  <a:gd name="connsiteY11" fmla="*/ 1309632 h 1389331"/>
                  <a:gd name="connsiteX12" fmla="*/ 4024885 w 4861820"/>
                  <a:gd name="connsiteY12" fmla="*/ 1295818 h 1389331"/>
                  <a:gd name="connsiteX13" fmla="*/ 4050407 w 4861820"/>
                  <a:gd name="connsiteY13" fmla="*/ 1292630 h 1389331"/>
                  <a:gd name="connsiteX14" fmla="*/ 4075397 w 4861820"/>
                  <a:gd name="connsiteY14" fmla="*/ 1288379 h 1389331"/>
                  <a:gd name="connsiteX15" fmla="*/ 4125909 w 4861820"/>
                  <a:gd name="connsiteY15" fmla="*/ 1279878 h 1389331"/>
                  <a:gd name="connsiteX16" fmla="*/ 4226401 w 4861820"/>
                  <a:gd name="connsiteY16" fmla="*/ 1261813 h 1389331"/>
                  <a:gd name="connsiteX17" fmla="*/ 4326362 w 4861820"/>
                  <a:gd name="connsiteY17" fmla="*/ 1241622 h 1389331"/>
                  <a:gd name="connsiteX18" fmla="*/ 4425790 w 4861820"/>
                  <a:gd name="connsiteY18" fmla="*/ 1218775 h 1389331"/>
                  <a:gd name="connsiteX19" fmla="*/ 4450781 w 4861820"/>
                  <a:gd name="connsiteY19" fmla="*/ 1212931 h 1389331"/>
                  <a:gd name="connsiteX20" fmla="*/ 4475239 w 4861820"/>
                  <a:gd name="connsiteY20" fmla="*/ 1206555 h 1389331"/>
                  <a:gd name="connsiteX21" fmla="*/ 4524688 w 4861820"/>
                  <a:gd name="connsiteY21" fmla="*/ 1193803 h 1389331"/>
                  <a:gd name="connsiteX22" fmla="*/ 4721220 w 4861820"/>
                  <a:gd name="connsiteY22" fmla="*/ 1137947 h 1389331"/>
                  <a:gd name="connsiteX23" fmla="*/ 4861820 w 4861820"/>
                  <a:gd name="connsiteY23" fmla="*/ 1091339 h 1389331"/>
                  <a:gd name="connsiteX24" fmla="*/ 4861820 w 4861820"/>
                  <a:gd name="connsiteY24" fmla="*/ 1102902 h 1389331"/>
                  <a:gd name="connsiteX25" fmla="*/ 4725208 w 4861820"/>
                  <a:gd name="connsiteY25" fmla="*/ 1151761 h 1389331"/>
                  <a:gd name="connsiteX26" fmla="*/ 4529473 w 4861820"/>
                  <a:gd name="connsiteY26" fmla="*/ 1212399 h 1389331"/>
                  <a:gd name="connsiteX27" fmla="*/ 4480025 w 4861820"/>
                  <a:gd name="connsiteY27" fmla="*/ 1226214 h 1389331"/>
                  <a:gd name="connsiteX28" fmla="*/ 4455566 w 4861820"/>
                  <a:gd name="connsiteY28" fmla="*/ 1233121 h 1389331"/>
                  <a:gd name="connsiteX29" fmla="*/ 4430576 w 4861820"/>
                  <a:gd name="connsiteY29" fmla="*/ 1239497 h 1389331"/>
                  <a:gd name="connsiteX30" fmla="*/ 4331148 w 4861820"/>
                  <a:gd name="connsiteY30" fmla="*/ 1265001 h 1389331"/>
                  <a:gd name="connsiteX31" fmla="*/ 4231187 w 4861820"/>
                  <a:gd name="connsiteY31" fmla="*/ 1287848 h 1389331"/>
                  <a:gd name="connsiteX32" fmla="*/ 4130694 w 4861820"/>
                  <a:gd name="connsiteY32" fmla="*/ 1308570 h 1389331"/>
                  <a:gd name="connsiteX33" fmla="*/ 4080182 w 4861820"/>
                  <a:gd name="connsiteY33" fmla="*/ 1318134 h 1389331"/>
                  <a:gd name="connsiteX34" fmla="*/ 4055192 w 4861820"/>
                  <a:gd name="connsiteY34" fmla="*/ 1322915 h 1389331"/>
                  <a:gd name="connsiteX35" fmla="*/ 4029670 w 4861820"/>
                  <a:gd name="connsiteY35" fmla="*/ 1327166 h 1389331"/>
                  <a:gd name="connsiteX36" fmla="*/ 3928115 w 4861820"/>
                  <a:gd name="connsiteY36" fmla="*/ 1343637 h 1389331"/>
                  <a:gd name="connsiteX37" fmla="*/ 3902593 w 4861820"/>
                  <a:gd name="connsiteY37" fmla="*/ 1347357 h 1389331"/>
                  <a:gd name="connsiteX38" fmla="*/ 3877071 w 4861820"/>
                  <a:gd name="connsiteY38" fmla="*/ 1350545 h 1389331"/>
                  <a:gd name="connsiteX39" fmla="*/ 3826027 w 4861820"/>
                  <a:gd name="connsiteY39" fmla="*/ 1356921 h 1389331"/>
                  <a:gd name="connsiteX40" fmla="*/ 3774984 w 4861820"/>
                  <a:gd name="connsiteY40" fmla="*/ 1363297 h 1389331"/>
                  <a:gd name="connsiteX41" fmla="*/ 3723940 w 4861820"/>
                  <a:gd name="connsiteY41" fmla="*/ 1368078 h 1389331"/>
                  <a:gd name="connsiteX42" fmla="*/ 3621321 w 4861820"/>
                  <a:gd name="connsiteY42" fmla="*/ 1377642 h 1389331"/>
                  <a:gd name="connsiteX43" fmla="*/ 3518702 w 4861820"/>
                  <a:gd name="connsiteY43" fmla="*/ 1383487 h 1389331"/>
                  <a:gd name="connsiteX44" fmla="*/ 3467126 w 4861820"/>
                  <a:gd name="connsiteY44" fmla="*/ 1386144 h 1389331"/>
                  <a:gd name="connsiteX45" fmla="*/ 3415551 w 4861820"/>
                  <a:gd name="connsiteY45" fmla="*/ 1387206 h 1389331"/>
                  <a:gd name="connsiteX46" fmla="*/ 3312400 w 4861820"/>
                  <a:gd name="connsiteY46" fmla="*/ 1389331 h 1389331"/>
                  <a:gd name="connsiteX47" fmla="*/ 2900860 w 4861820"/>
                  <a:gd name="connsiteY47" fmla="*/ 1368610 h 1389331"/>
                  <a:gd name="connsiteX48" fmla="*/ 2094264 w 4861820"/>
                  <a:gd name="connsiteY48" fmla="*/ 1199648 h 1389331"/>
                  <a:gd name="connsiteX49" fmla="*/ 1335520 w 4861820"/>
                  <a:gd name="connsiteY49" fmla="*/ 875006 h 1389331"/>
                  <a:gd name="connsiteX50" fmla="*/ 632075 w 4861820"/>
                  <a:gd name="connsiteY50" fmla="*/ 446225 h 1389331"/>
                  <a:gd name="connsiteX51" fmla="*/ 294907 w 4861820"/>
                  <a:gd name="connsiteY51" fmla="*/ 211710 h 13893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4861820" h="1389331">
                    <a:moveTo>
                      <a:pt x="0" y="0"/>
                    </a:moveTo>
                    <a:lnTo>
                      <a:pt x="229890" y="0"/>
                    </a:lnTo>
                    <a:lnTo>
                      <a:pt x="373317" y="108292"/>
                    </a:lnTo>
                    <a:cubicBezTo>
                      <a:pt x="482267" y="189793"/>
                      <a:pt x="591665" y="270356"/>
                      <a:pt x="702260" y="348992"/>
                    </a:cubicBezTo>
                    <a:cubicBezTo>
                      <a:pt x="923449" y="506265"/>
                      <a:pt x="1149423" y="656099"/>
                      <a:pt x="1384969" y="788400"/>
                    </a:cubicBezTo>
                    <a:cubicBezTo>
                      <a:pt x="1620515" y="921232"/>
                      <a:pt x="1866162" y="1035999"/>
                      <a:pt x="2120849" y="1125262"/>
                    </a:cubicBezTo>
                    <a:cubicBezTo>
                      <a:pt x="2630754" y="1304850"/>
                      <a:pt x="3179474" y="1371798"/>
                      <a:pt x="3720750" y="1329823"/>
                    </a:cubicBezTo>
                    <a:cubicBezTo>
                      <a:pt x="3737764" y="1328760"/>
                      <a:pt x="3754779" y="1327698"/>
                      <a:pt x="3771794" y="1326104"/>
                    </a:cubicBezTo>
                    <a:lnTo>
                      <a:pt x="3822306" y="1320790"/>
                    </a:lnTo>
                    <a:lnTo>
                      <a:pt x="3872818" y="1315477"/>
                    </a:lnTo>
                    <a:lnTo>
                      <a:pt x="3898339" y="1312820"/>
                    </a:lnTo>
                    <a:cubicBezTo>
                      <a:pt x="3906847" y="1311758"/>
                      <a:pt x="3915354" y="1311226"/>
                      <a:pt x="3923861" y="1309632"/>
                    </a:cubicBezTo>
                    <a:lnTo>
                      <a:pt x="4024885" y="1295818"/>
                    </a:lnTo>
                    <a:lnTo>
                      <a:pt x="4050407" y="1292630"/>
                    </a:lnTo>
                    <a:cubicBezTo>
                      <a:pt x="4058914" y="1291567"/>
                      <a:pt x="4067422" y="1289973"/>
                      <a:pt x="4075397" y="1288379"/>
                    </a:cubicBezTo>
                    <a:lnTo>
                      <a:pt x="4125909" y="1279878"/>
                    </a:lnTo>
                    <a:cubicBezTo>
                      <a:pt x="4159407" y="1274034"/>
                      <a:pt x="4192904" y="1269251"/>
                      <a:pt x="4226401" y="1261813"/>
                    </a:cubicBezTo>
                    <a:lnTo>
                      <a:pt x="4326362" y="1241622"/>
                    </a:lnTo>
                    <a:lnTo>
                      <a:pt x="4425790" y="1218775"/>
                    </a:lnTo>
                    <a:lnTo>
                      <a:pt x="4450781" y="1212931"/>
                    </a:lnTo>
                    <a:lnTo>
                      <a:pt x="4475239" y="1206555"/>
                    </a:lnTo>
                    <a:lnTo>
                      <a:pt x="4524688" y="1193803"/>
                    </a:lnTo>
                    <a:cubicBezTo>
                      <a:pt x="4590620" y="1176535"/>
                      <a:pt x="4656152" y="1157939"/>
                      <a:pt x="4721220" y="1137947"/>
                    </a:cubicBezTo>
                    <a:lnTo>
                      <a:pt x="4861820" y="1091339"/>
                    </a:lnTo>
                    <a:lnTo>
                      <a:pt x="4861820" y="1102902"/>
                    </a:lnTo>
                    <a:lnTo>
                      <a:pt x="4725208" y="1151761"/>
                    </a:lnTo>
                    <a:cubicBezTo>
                      <a:pt x="4660406" y="1173347"/>
                      <a:pt x="4595139" y="1193537"/>
                      <a:pt x="4529473" y="1212399"/>
                    </a:cubicBezTo>
                    <a:lnTo>
                      <a:pt x="4480025" y="1226214"/>
                    </a:lnTo>
                    <a:lnTo>
                      <a:pt x="4455566" y="1233121"/>
                    </a:lnTo>
                    <a:lnTo>
                      <a:pt x="4430576" y="1239497"/>
                    </a:lnTo>
                    <a:lnTo>
                      <a:pt x="4331148" y="1265001"/>
                    </a:lnTo>
                    <a:lnTo>
                      <a:pt x="4231187" y="1287848"/>
                    </a:lnTo>
                    <a:cubicBezTo>
                      <a:pt x="4197689" y="1295818"/>
                      <a:pt x="4164192" y="1301662"/>
                      <a:pt x="4130694" y="1308570"/>
                    </a:cubicBezTo>
                    <a:lnTo>
                      <a:pt x="4080182" y="1318134"/>
                    </a:lnTo>
                    <a:cubicBezTo>
                      <a:pt x="4071675" y="1319728"/>
                      <a:pt x="4063168" y="1321322"/>
                      <a:pt x="4055192" y="1322915"/>
                    </a:cubicBezTo>
                    <a:lnTo>
                      <a:pt x="4029670" y="1327166"/>
                    </a:lnTo>
                    <a:lnTo>
                      <a:pt x="3928115" y="1343637"/>
                    </a:lnTo>
                    <a:cubicBezTo>
                      <a:pt x="3919607" y="1345231"/>
                      <a:pt x="3911100" y="1346294"/>
                      <a:pt x="3902593" y="1347357"/>
                    </a:cubicBezTo>
                    <a:lnTo>
                      <a:pt x="3877071" y="1350545"/>
                    </a:lnTo>
                    <a:lnTo>
                      <a:pt x="3826027" y="1356921"/>
                    </a:lnTo>
                    <a:lnTo>
                      <a:pt x="3774984" y="1363297"/>
                    </a:lnTo>
                    <a:cubicBezTo>
                      <a:pt x="3757969" y="1364890"/>
                      <a:pt x="3740954" y="1366484"/>
                      <a:pt x="3723940" y="1368078"/>
                    </a:cubicBezTo>
                    <a:lnTo>
                      <a:pt x="3621321" y="1377642"/>
                    </a:lnTo>
                    <a:lnTo>
                      <a:pt x="3518702" y="1383487"/>
                    </a:lnTo>
                    <a:lnTo>
                      <a:pt x="3467126" y="1386144"/>
                    </a:lnTo>
                    <a:lnTo>
                      <a:pt x="3415551" y="1387206"/>
                    </a:lnTo>
                    <a:lnTo>
                      <a:pt x="3312400" y="1389331"/>
                    </a:lnTo>
                    <a:cubicBezTo>
                      <a:pt x="3175220" y="1389331"/>
                      <a:pt x="3038040" y="1382424"/>
                      <a:pt x="2900860" y="1368610"/>
                    </a:cubicBezTo>
                    <a:cubicBezTo>
                      <a:pt x="2627564" y="1340981"/>
                      <a:pt x="2356394" y="1284129"/>
                      <a:pt x="2094264" y="1199648"/>
                    </a:cubicBezTo>
                    <a:cubicBezTo>
                      <a:pt x="1832133" y="1115166"/>
                      <a:pt x="1578510" y="1003588"/>
                      <a:pt x="1335520" y="875006"/>
                    </a:cubicBezTo>
                    <a:cubicBezTo>
                      <a:pt x="1092531" y="745894"/>
                      <a:pt x="859113" y="599778"/>
                      <a:pt x="632075" y="446225"/>
                    </a:cubicBezTo>
                    <a:cubicBezTo>
                      <a:pt x="518556" y="369448"/>
                      <a:pt x="406366" y="290944"/>
                      <a:pt x="294907" y="211710"/>
                    </a:cubicBezTo>
                    <a:close/>
                  </a:path>
                </a:pathLst>
              </a:custGeom>
              <a:solidFill>
                <a:schemeClr val="accent1"/>
              </a:solidFill>
              <a:ln w="5317" cap="flat">
                <a:noFill/>
                <a:prstDash val="solid"/>
                <a:miter/>
              </a:ln>
            </p:spPr>
            <p:txBody>
              <a:bodyPr rtlCol="0" anchor="ctr"/>
              <a:lstStyle/>
              <a:p>
                <a:endParaRPr lang="en-US"/>
              </a:p>
            </p:txBody>
          </p:sp>
        </p:grpSp>
      </p:grpSp>
    </p:spTree>
    <p:extLst>
      <p:ext uri="{BB962C8B-B14F-4D97-AF65-F5344CB8AC3E}">
        <p14:creationId xmlns:p14="http://schemas.microsoft.com/office/powerpoint/2010/main" val="2761293415"/>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117" Type="http://schemas.openxmlformats.org/officeDocument/2006/relationships/slideLayout" Target="../slideLayouts/slideLayout117.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12" Type="http://schemas.openxmlformats.org/officeDocument/2006/relationships/slideLayout" Target="../slideLayouts/slideLayout112.xml"/><Relationship Id="rId133" Type="http://schemas.openxmlformats.org/officeDocument/2006/relationships/slideLayout" Target="../slideLayouts/slideLayout133.xml"/><Relationship Id="rId138" Type="http://schemas.openxmlformats.org/officeDocument/2006/relationships/slideLayout" Target="../slideLayouts/slideLayout138.xml"/><Relationship Id="rId154" Type="http://schemas.openxmlformats.org/officeDocument/2006/relationships/slideLayout" Target="../slideLayouts/slideLayout154.xml"/><Relationship Id="rId159" Type="http://schemas.openxmlformats.org/officeDocument/2006/relationships/slideLayout" Target="../slideLayouts/slideLayout159.xml"/><Relationship Id="rId170" Type="http://schemas.openxmlformats.org/officeDocument/2006/relationships/slideLayout" Target="../slideLayouts/slideLayout170.xml"/><Relationship Id="rId16" Type="http://schemas.openxmlformats.org/officeDocument/2006/relationships/slideLayout" Target="../slideLayouts/slideLayout16.xml"/><Relationship Id="rId107" Type="http://schemas.openxmlformats.org/officeDocument/2006/relationships/slideLayout" Target="../slideLayouts/slideLayout107.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123" Type="http://schemas.openxmlformats.org/officeDocument/2006/relationships/slideLayout" Target="../slideLayouts/slideLayout123.xml"/><Relationship Id="rId128" Type="http://schemas.openxmlformats.org/officeDocument/2006/relationships/slideLayout" Target="../slideLayouts/slideLayout128.xml"/><Relationship Id="rId144" Type="http://schemas.openxmlformats.org/officeDocument/2006/relationships/slideLayout" Target="../slideLayouts/slideLayout144.xml"/><Relationship Id="rId149" Type="http://schemas.openxmlformats.org/officeDocument/2006/relationships/slideLayout" Target="../slideLayouts/slideLayout149.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160" Type="http://schemas.openxmlformats.org/officeDocument/2006/relationships/slideLayout" Target="../slideLayouts/slideLayout160.xml"/><Relationship Id="rId165" Type="http://schemas.openxmlformats.org/officeDocument/2006/relationships/slideLayout" Target="../slideLayouts/slideLayout16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113" Type="http://schemas.openxmlformats.org/officeDocument/2006/relationships/slideLayout" Target="../slideLayouts/slideLayout113.xml"/><Relationship Id="rId118" Type="http://schemas.openxmlformats.org/officeDocument/2006/relationships/slideLayout" Target="../slideLayouts/slideLayout118.xml"/><Relationship Id="rId134" Type="http://schemas.openxmlformats.org/officeDocument/2006/relationships/slideLayout" Target="../slideLayouts/slideLayout134.xml"/><Relationship Id="rId139" Type="http://schemas.openxmlformats.org/officeDocument/2006/relationships/slideLayout" Target="../slideLayouts/slideLayout13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50" Type="http://schemas.openxmlformats.org/officeDocument/2006/relationships/slideLayout" Target="../slideLayouts/slideLayout150.xml"/><Relationship Id="rId155" Type="http://schemas.openxmlformats.org/officeDocument/2006/relationships/slideLayout" Target="../slideLayouts/slideLayout155.xml"/><Relationship Id="rId171" Type="http://schemas.openxmlformats.org/officeDocument/2006/relationships/slideLayout" Target="../slideLayouts/slideLayout171.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slideLayout" Target="../slideLayouts/slideLayout103.xml"/><Relationship Id="rId108" Type="http://schemas.openxmlformats.org/officeDocument/2006/relationships/slideLayout" Target="../slideLayouts/slideLayout108.xml"/><Relationship Id="rId124" Type="http://schemas.openxmlformats.org/officeDocument/2006/relationships/slideLayout" Target="../slideLayouts/slideLayout124.xml"/><Relationship Id="rId129" Type="http://schemas.openxmlformats.org/officeDocument/2006/relationships/slideLayout" Target="../slideLayouts/slideLayout129.xml"/><Relationship Id="rId54" Type="http://schemas.openxmlformats.org/officeDocument/2006/relationships/slideLayout" Target="../slideLayouts/slideLayout54.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40" Type="http://schemas.openxmlformats.org/officeDocument/2006/relationships/slideLayout" Target="../slideLayouts/slideLayout140.xml"/><Relationship Id="rId145" Type="http://schemas.openxmlformats.org/officeDocument/2006/relationships/slideLayout" Target="../slideLayouts/slideLayout145.xml"/><Relationship Id="rId161" Type="http://schemas.openxmlformats.org/officeDocument/2006/relationships/slideLayout" Target="../slideLayouts/slideLayout161.xml"/><Relationship Id="rId166" Type="http://schemas.openxmlformats.org/officeDocument/2006/relationships/slideLayout" Target="../slideLayouts/slideLayout16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slideLayout" Target="../slideLayouts/slideLayout106.xml"/><Relationship Id="rId114" Type="http://schemas.openxmlformats.org/officeDocument/2006/relationships/slideLayout" Target="../slideLayouts/slideLayout114.xml"/><Relationship Id="rId119" Type="http://schemas.openxmlformats.org/officeDocument/2006/relationships/slideLayout" Target="../slideLayouts/slideLayout119.xml"/><Relationship Id="rId127" Type="http://schemas.openxmlformats.org/officeDocument/2006/relationships/slideLayout" Target="../slideLayouts/slideLayout12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122" Type="http://schemas.openxmlformats.org/officeDocument/2006/relationships/slideLayout" Target="../slideLayouts/slideLayout122.xml"/><Relationship Id="rId130" Type="http://schemas.openxmlformats.org/officeDocument/2006/relationships/slideLayout" Target="../slideLayouts/slideLayout130.xml"/><Relationship Id="rId135" Type="http://schemas.openxmlformats.org/officeDocument/2006/relationships/slideLayout" Target="../slideLayouts/slideLayout135.xml"/><Relationship Id="rId143" Type="http://schemas.openxmlformats.org/officeDocument/2006/relationships/slideLayout" Target="../slideLayouts/slideLayout143.xml"/><Relationship Id="rId148" Type="http://schemas.openxmlformats.org/officeDocument/2006/relationships/slideLayout" Target="../slideLayouts/slideLayout148.xml"/><Relationship Id="rId151" Type="http://schemas.openxmlformats.org/officeDocument/2006/relationships/slideLayout" Target="../slideLayouts/slideLayout151.xml"/><Relationship Id="rId156" Type="http://schemas.openxmlformats.org/officeDocument/2006/relationships/slideLayout" Target="../slideLayouts/slideLayout156.xml"/><Relationship Id="rId164" Type="http://schemas.openxmlformats.org/officeDocument/2006/relationships/slideLayout" Target="../slideLayouts/slideLayout164.xml"/><Relationship Id="rId169" Type="http://schemas.openxmlformats.org/officeDocument/2006/relationships/slideLayout" Target="../slideLayouts/slideLayout169.xml"/><Relationship Id="rId4" Type="http://schemas.openxmlformats.org/officeDocument/2006/relationships/slideLayout" Target="../slideLayouts/slideLayout4.xml"/><Relationship Id="rId9" Type="http://schemas.openxmlformats.org/officeDocument/2006/relationships/slideLayout" Target="../slideLayouts/slideLayout9.xml"/><Relationship Id="rId172" Type="http://schemas.openxmlformats.org/officeDocument/2006/relationships/slideLayout" Target="../slideLayouts/slideLayout172.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109" Type="http://schemas.openxmlformats.org/officeDocument/2006/relationships/slideLayout" Target="../slideLayouts/slideLayout10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slideLayout" Target="../slideLayouts/slideLayout104.xml"/><Relationship Id="rId120" Type="http://schemas.openxmlformats.org/officeDocument/2006/relationships/slideLayout" Target="../slideLayouts/slideLayout120.xml"/><Relationship Id="rId125" Type="http://schemas.openxmlformats.org/officeDocument/2006/relationships/slideLayout" Target="../slideLayouts/slideLayout125.xml"/><Relationship Id="rId141" Type="http://schemas.openxmlformats.org/officeDocument/2006/relationships/slideLayout" Target="../slideLayouts/slideLayout141.xml"/><Relationship Id="rId146" Type="http://schemas.openxmlformats.org/officeDocument/2006/relationships/slideLayout" Target="../slideLayouts/slideLayout146.xml"/><Relationship Id="rId167" Type="http://schemas.openxmlformats.org/officeDocument/2006/relationships/slideLayout" Target="../slideLayouts/slideLayout167.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162" Type="http://schemas.openxmlformats.org/officeDocument/2006/relationships/slideLayout" Target="../slideLayouts/slideLayout16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110" Type="http://schemas.openxmlformats.org/officeDocument/2006/relationships/slideLayout" Target="../slideLayouts/slideLayout110.xml"/><Relationship Id="rId115" Type="http://schemas.openxmlformats.org/officeDocument/2006/relationships/slideLayout" Target="../slideLayouts/slideLayout115.xml"/><Relationship Id="rId131" Type="http://schemas.openxmlformats.org/officeDocument/2006/relationships/slideLayout" Target="../slideLayouts/slideLayout131.xml"/><Relationship Id="rId136" Type="http://schemas.openxmlformats.org/officeDocument/2006/relationships/slideLayout" Target="../slideLayouts/slideLayout136.xml"/><Relationship Id="rId157" Type="http://schemas.openxmlformats.org/officeDocument/2006/relationships/slideLayout" Target="../slideLayouts/slideLayout15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52" Type="http://schemas.openxmlformats.org/officeDocument/2006/relationships/slideLayout" Target="../slideLayouts/slideLayout152.xml"/><Relationship Id="rId173"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slideLayout" Target="../slideLayouts/slideLayout105.xml"/><Relationship Id="rId126" Type="http://schemas.openxmlformats.org/officeDocument/2006/relationships/slideLayout" Target="../slideLayouts/slideLayout126.xml"/><Relationship Id="rId147" Type="http://schemas.openxmlformats.org/officeDocument/2006/relationships/slideLayout" Target="../slideLayouts/slideLayout147.xml"/><Relationship Id="rId168" Type="http://schemas.openxmlformats.org/officeDocument/2006/relationships/slideLayout" Target="../slideLayouts/slideLayout168.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121" Type="http://schemas.openxmlformats.org/officeDocument/2006/relationships/slideLayout" Target="../slideLayouts/slideLayout121.xml"/><Relationship Id="rId142" Type="http://schemas.openxmlformats.org/officeDocument/2006/relationships/slideLayout" Target="../slideLayouts/slideLayout142.xml"/><Relationship Id="rId163" Type="http://schemas.openxmlformats.org/officeDocument/2006/relationships/slideLayout" Target="../slideLayouts/slideLayout163.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 Id="rId116" Type="http://schemas.openxmlformats.org/officeDocument/2006/relationships/slideLayout" Target="../slideLayouts/slideLayout116.xml"/><Relationship Id="rId137" Type="http://schemas.openxmlformats.org/officeDocument/2006/relationships/slideLayout" Target="../slideLayouts/slideLayout137.xml"/><Relationship Id="rId158" Type="http://schemas.openxmlformats.org/officeDocument/2006/relationships/slideLayout" Target="../slideLayouts/slideLayout158.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62" Type="http://schemas.openxmlformats.org/officeDocument/2006/relationships/slideLayout" Target="../slideLayouts/slideLayout62.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111" Type="http://schemas.openxmlformats.org/officeDocument/2006/relationships/slideLayout" Target="../slideLayouts/slideLayout111.xml"/><Relationship Id="rId132" Type="http://schemas.openxmlformats.org/officeDocument/2006/relationships/slideLayout" Target="../slideLayouts/slideLayout132.xml"/><Relationship Id="rId153" Type="http://schemas.openxmlformats.org/officeDocument/2006/relationships/slideLayout" Target="../slideLayouts/slideLayout153.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4.jpeg"/><Relationship Id="rId3" Type="http://schemas.openxmlformats.org/officeDocument/2006/relationships/slideLayout" Target="../slideLayouts/slideLayout175.xml"/><Relationship Id="rId7" Type="http://schemas.openxmlformats.org/officeDocument/2006/relationships/theme" Target="../theme/theme2.xml"/><Relationship Id="rId2" Type="http://schemas.openxmlformats.org/officeDocument/2006/relationships/slideLayout" Target="../slideLayouts/slideLayout174.xml"/><Relationship Id="rId1" Type="http://schemas.openxmlformats.org/officeDocument/2006/relationships/slideLayout" Target="../slideLayouts/slideLayout173.xml"/><Relationship Id="rId6" Type="http://schemas.openxmlformats.org/officeDocument/2006/relationships/slideLayout" Target="../slideLayouts/slideLayout178.xml"/><Relationship Id="rId5" Type="http://schemas.openxmlformats.org/officeDocument/2006/relationships/slideLayout" Target="../slideLayouts/slideLayout177.xml"/><Relationship Id="rId4" Type="http://schemas.openxmlformats.org/officeDocument/2006/relationships/slideLayout" Target="../slideLayouts/slideLayout176.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86.xml"/><Relationship Id="rId3" Type="http://schemas.openxmlformats.org/officeDocument/2006/relationships/slideLayout" Target="../slideLayouts/slideLayout181.xml"/><Relationship Id="rId7" Type="http://schemas.openxmlformats.org/officeDocument/2006/relationships/slideLayout" Target="../slideLayouts/slideLayout185.xml"/><Relationship Id="rId12" Type="http://schemas.openxmlformats.org/officeDocument/2006/relationships/theme" Target="../theme/theme3.xml"/><Relationship Id="rId2" Type="http://schemas.openxmlformats.org/officeDocument/2006/relationships/slideLayout" Target="../slideLayouts/slideLayout180.xml"/><Relationship Id="rId1" Type="http://schemas.openxmlformats.org/officeDocument/2006/relationships/slideLayout" Target="../slideLayouts/slideLayout179.xml"/><Relationship Id="rId6" Type="http://schemas.openxmlformats.org/officeDocument/2006/relationships/slideLayout" Target="../slideLayouts/slideLayout184.xml"/><Relationship Id="rId11" Type="http://schemas.openxmlformats.org/officeDocument/2006/relationships/slideLayout" Target="../slideLayouts/slideLayout189.xml"/><Relationship Id="rId5" Type="http://schemas.openxmlformats.org/officeDocument/2006/relationships/slideLayout" Target="../slideLayouts/slideLayout183.xml"/><Relationship Id="rId10" Type="http://schemas.openxmlformats.org/officeDocument/2006/relationships/slideLayout" Target="../slideLayouts/slideLayout188.xml"/><Relationship Id="rId4" Type="http://schemas.openxmlformats.org/officeDocument/2006/relationships/slideLayout" Target="../slideLayouts/slideLayout182.xml"/><Relationship Id="rId9" Type="http://schemas.openxmlformats.org/officeDocument/2006/relationships/slideLayout" Target="../slideLayouts/slideLayout18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1383952346"/>
      </p:ext>
    </p:extLst>
  </p:cSld>
  <p:clrMap bg1="lt1" tx1="dk1" bg2="lt2" tx2="dk2" accent1="accent1" accent2="accent2" accent3="accent3" accent4="accent4" accent5="accent5" accent6="accent6" hlink="hlink" folHlink="folHlink"/>
  <p:sldLayoutIdLst>
    <p:sldLayoutId id="2147483833" r:id="rId1"/>
    <p:sldLayoutId id="2147483834" r:id="rId2"/>
    <p:sldLayoutId id="2147483835" r:id="rId3"/>
    <p:sldLayoutId id="2147483836" r:id="rId4"/>
    <p:sldLayoutId id="2147483838" r:id="rId5"/>
    <p:sldLayoutId id="2147483839" r:id="rId6"/>
    <p:sldLayoutId id="2147483840" r:id="rId7"/>
    <p:sldLayoutId id="2147483841" r:id="rId8"/>
    <p:sldLayoutId id="2147483842" r:id="rId9"/>
    <p:sldLayoutId id="2147483843" r:id="rId10"/>
    <p:sldLayoutId id="2147484269" r:id="rId11"/>
    <p:sldLayoutId id="2147484270" r:id="rId12"/>
    <p:sldLayoutId id="2147484271" r:id="rId13"/>
    <p:sldLayoutId id="2147484219" r:id="rId14"/>
    <p:sldLayoutId id="2147484272" r:id="rId15"/>
    <p:sldLayoutId id="2147484273" r:id="rId16"/>
    <p:sldLayoutId id="2147484274" r:id="rId17"/>
    <p:sldLayoutId id="2147484275" r:id="rId18"/>
    <p:sldLayoutId id="2147484276" r:id="rId19"/>
    <p:sldLayoutId id="2147484277" r:id="rId20"/>
    <p:sldLayoutId id="2147484238" r:id="rId21"/>
    <p:sldLayoutId id="2147484278" r:id="rId22"/>
    <p:sldLayoutId id="2147484221" r:id="rId23"/>
    <p:sldLayoutId id="2147484279" r:id="rId24"/>
    <p:sldLayoutId id="2147484280" r:id="rId25"/>
    <p:sldLayoutId id="2147484281" r:id="rId26"/>
    <p:sldLayoutId id="2147484282" r:id="rId27"/>
    <p:sldLayoutId id="2147484283" r:id="rId28"/>
    <p:sldLayoutId id="2147484237" r:id="rId29"/>
    <p:sldLayoutId id="2147484284" r:id="rId30"/>
    <p:sldLayoutId id="2147484353" r:id="rId31"/>
    <p:sldLayoutId id="2147483837" r:id="rId32"/>
    <p:sldLayoutId id="2147484354" r:id="rId33"/>
    <p:sldLayoutId id="2147483885" r:id="rId34"/>
    <p:sldLayoutId id="2147484355" r:id="rId35"/>
    <p:sldLayoutId id="2147484356" r:id="rId36"/>
    <p:sldLayoutId id="2147484357" r:id="rId37"/>
    <p:sldLayoutId id="2147484358" r:id="rId38"/>
    <p:sldLayoutId id="2147484359" r:id="rId39"/>
    <p:sldLayoutId id="2147483844" r:id="rId40"/>
    <p:sldLayoutId id="2147483845" r:id="rId41"/>
    <p:sldLayoutId id="2147483735" r:id="rId42"/>
    <p:sldLayoutId id="2147484557" r:id="rId43"/>
    <p:sldLayoutId id="2147484200" r:id="rId44"/>
    <p:sldLayoutId id="2147483741" r:id="rId45"/>
    <p:sldLayoutId id="2147484202" r:id="rId46"/>
    <p:sldLayoutId id="2147484203" r:id="rId47"/>
    <p:sldLayoutId id="2147484204" r:id="rId48"/>
    <p:sldLayoutId id="2147484205" r:id="rId49"/>
    <p:sldLayoutId id="2147484206" r:id="rId50"/>
    <p:sldLayoutId id="2147483736" r:id="rId51"/>
    <p:sldLayoutId id="2147484208" r:id="rId52"/>
    <p:sldLayoutId id="2147483722" r:id="rId53"/>
    <p:sldLayoutId id="2147483778" r:id="rId54"/>
    <p:sldLayoutId id="2147483779" r:id="rId55"/>
    <p:sldLayoutId id="2147483777" r:id="rId56"/>
    <p:sldLayoutId id="2147483764" r:id="rId57"/>
    <p:sldLayoutId id="2147483765" r:id="rId58"/>
    <p:sldLayoutId id="2147483766" r:id="rId59"/>
    <p:sldLayoutId id="2147483767" r:id="rId60"/>
    <p:sldLayoutId id="2147483739" r:id="rId61"/>
    <p:sldLayoutId id="2147483771" r:id="rId62"/>
    <p:sldLayoutId id="2147483761" r:id="rId63"/>
    <p:sldLayoutId id="2147483762" r:id="rId64"/>
    <p:sldLayoutId id="2147483763" r:id="rId65"/>
    <p:sldLayoutId id="2147483772" r:id="rId66"/>
    <p:sldLayoutId id="2147484220" r:id="rId67"/>
    <p:sldLayoutId id="2147483768" r:id="rId68"/>
    <p:sldLayoutId id="2147483769" r:id="rId69"/>
    <p:sldLayoutId id="2147483770" r:id="rId70"/>
    <p:sldLayoutId id="2147484211" r:id="rId71"/>
    <p:sldLayoutId id="2147484212" r:id="rId72"/>
    <p:sldLayoutId id="2147484214" r:id="rId73"/>
    <p:sldLayoutId id="2147484572" r:id="rId74"/>
    <p:sldLayoutId id="2147484215" r:id="rId75"/>
    <p:sldLayoutId id="2147483792" r:id="rId76"/>
    <p:sldLayoutId id="2147483793" r:id="rId77"/>
    <p:sldLayoutId id="2147483794" r:id="rId78"/>
    <p:sldLayoutId id="2147483681" r:id="rId79"/>
    <p:sldLayoutId id="2147483795" r:id="rId80"/>
    <p:sldLayoutId id="2147483796" r:id="rId81"/>
    <p:sldLayoutId id="2147483797" r:id="rId82"/>
    <p:sldLayoutId id="2147483798" r:id="rId83"/>
    <p:sldLayoutId id="2147483799" r:id="rId84"/>
    <p:sldLayoutId id="2147483800" r:id="rId85"/>
    <p:sldLayoutId id="2147483801" r:id="rId86"/>
    <p:sldLayoutId id="2147484222" r:id="rId87"/>
    <p:sldLayoutId id="2147483703" r:id="rId88"/>
    <p:sldLayoutId id="2147484209" r:id="rId89"/>
    <p:sldLayoutId id="2147483661" r:id="rId90"/>
    <p:sldLayoutId id="2147483662" r:id="rId91"/>
    <p:sldLayoutId id="2147483663" r:id="rId92"/>
    <p:sldLayoutId id="2147483664" r:id="rId93"/>
    <p:sldLayoutId id="2147483668" r:id="rId94"/>
    <p:sldLayoutId id="2147483669" r:id="rId95"/>
    <p:sldLayoutId id="2147483670" r:id="rId96"/>
    <p:sldLayoutId id="2147483671" r:id="rId97"/>
    <p:sldLayoutId id="2147483672" r:id="rId98"/>
    <p:sldLayoutId id="2147483673" r:id="rId99"/>
    <p:sldLayoutId id="2147484566" r:id="rId100"/>
    <p:sldLayoutId id="2147483713" r:id="rId101"/>
    <p:sldLayoutId id="2147484231" r:id="rId102"/>
    <p:sldLayoutId id="2147484268" r:id="rId103"/>
    <p:sldLayoutId id="2147484235" r:id="rId104"/>
    <p:sldLayoutId id="2147484224" r:id="rId105"/>
    <p:sldLayoutId id="2147484245" r:id="rId106"/>
    <p:sldLayoutId id="2147484262" r:id="rId107"/>
    <p:sldLayoutId id="2147484285" r:id="rId108"/>
    <p:sldLayoutId id="2147484286" r:id="rId109"/>
    <p:sldLayoutId id="2147484287" r:id="rId110"/>
    <p:sldLayoutId id="2147484233" r:id="rId111"/>
    <p:sldLayoutId id="2147483710" r:id="rId112"/>
    <p:sldLayoutId id="2147483716" r:id="rId113"/>
    <p:sldLayoutId id="2147483723" r:id="rId114"/>
    <p:sldLayoutId id="2147484368" r:id="rId115"/>
    <p:sldLayoutId id="2147483717" r:id="rId116"/>
    <p:sldLayoutId id="2147483718" r:id="rId117"/>
    <p:sldLayoutId id="2147483719" r:id="rId118"/>
    <p:sldLayoutId id="2147483720" r:id="rId119"/>
    <p:sldLayoutId id="2147483721" r:id="rId120"/>
    <p:sldLayoutId id="2147483712" r:id="rId121"/>
    <p:sldLayoutId id="2147484570" r:id="rId122"/>
    <p:sldLayoutId id="2147483674" r:id="rId123"/>
    <p:sldLayoutId id="2147483850" r:id="rId124"/>
    <p:sldLayoutId id="2147483675" r:id="rId125"/>
    <p:sldLayoutId id="2147484288" r:id="rId126"/>
    <p:sldLayoutId id="2147484289" r:id="rId127"/>
    <p:sldLayoutId id="2147484290" r:id="rId128"/>
    <p:sldLayoutId id="2147484291" r:id="rId129"/>
    <p:sldLayoutId id="2147484292" r:id="rId130"/>
    <p:sldLayoutId id="2147484293" r:id="rId131"/>
    <p:sldLayoutId id="2147484294" r:id="rId132"/>
    <p:sldLayoutId id="2147484295" r:id="rId133"/>
    <p:sldLayoutId id="2147484296" r:id="rId134"/>
    <p:sldLayoutId id="2147483868" r:id="rId135"/>
    <p:sldLayoutId id="2147483676" r:id="rId136"/>
    <p:sldLayoutId id="2147483677" r:id="rId137"/>
    <p:sldLayoutId id="2147483678" r:id="rId138"/>
    <p:sldLayoutId id="2147483679" r:id="rId139"/>
    <p:sldLayoutId id="2147483813" r:id="rId140"/>
    <p:sldLayoutId id="2147483814" r:id="rId141"/>
    <p:sldLayoutId id="2147483815" r:id="rId142"/>
    <p:sldLayoutId id="2147483816" r:id="rId143"/>
    <p:sldLayoutId id="2147484579" r:id="rId144"/>
    <p:sldLayoutId id="2147484580" r:id="rId145"/>
    <p:sldLayoutId id="2147483879" r:id="rId146"/>
    <p:sldLayoutId id="2147484297" r:id="rId147"/>
    <p:sldLayoutId id="2147484298" r:id="rId148"/>
    <p:sldLayoutId id="2147484260" r:id="rId149"/>
    <p:sldLayoutId id="2147484226" r:id="rId150"/>
    <p:sldLayoutId id="2147484299" r:id="rId151"/>
    <p:sldLayoutId id="2147484267" r:id="rId152"/>
    <p:sldLayoutId id="2147484300" r:id="rId153"/>
    <p:sldLayoutId id="2147484301" r:id="rId154"/>
    <p:sldLayoutId id="2147484302" r:id="rId155"/>
    <p:sldLayoutId id="2147484303" r:id="rId156"/>
    <p:sldLayoutId id="2147484304" r:id="rId157"/>
    <p:sldLayoutId id="2147484305" r:id="rId158"/>
    <p:sldLayoutId id="2147484306" r:id="rId159"/>
    <p:sldLayoutId id="2147484227" r:id="rId160"/>
    <p:sldLayoutId id="2147484307" r:id="rId161"/>
    <p:sldLayoutId id="2147484308" r:id="rId162"/>
    <p:sldLayoutId id="2147484309" r:id="rId163"/>
    <p:sldLayoutId id="2147484310" r:id="rId164"/>
    <p:sldLayoutId id="2147484311" r:id="rId165"/>
    <p:sldLayoutId id="2147484312" r:id="rId166"/>
    <p:sldLayoutId id="2147483877" r:id="rId167"/>
    <p:sldLayoutId id="2147483878" r:id="rId168"/>
    <p:sldLayoutId id="2147483752" r:id="rId169"/>
    <p:sldLayoutId id="2147483773" r:id="rId170"/>
    <p:sldLayoutId id="2147483774" r:id="rId171"/>
    <p:sldLayoutId id="2147483775" r:id="rId172"/>
  </p:sldLayoutIdLst>
  <p:hf hdr="0" dt="0"/>
  <p:txStyles>
    <p:title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100000"/>
        </a:lnSpc>
        <a:spcBef>
          <a:spcPts val="1000"/>
        </a:spcBef>
        <a:spcAft>
          <a:spcPts val="1000"/>
        </a:spcAft>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100000"/>
        </a:lnSpc>
        <a:spcBef>
          <a:spcPts val="500"/>
        </a:spcBef>
        <a:spcAft>
          <a:spcPts val="1000"/>
        </a:spcAft>
        <a:buClr>
          <a:schemeClr val="accent1"/>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100000"/>
        </a:lnSpc>
        <a:spcBef>
          <a:spcPts val="500"/>
        </a:spcBef>
        <a:spcAft>
          <a:spcPts val="1000"/>
        </a:spcAft>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F39F9A0-8CBE-4C3C-85F1-91B2141E10BF}"/>
              </a:ext>
            </a:extLst>
          </p:cNvPr>
          <p:cNvPicPr>
            <a:picLocks noChangeAspect="1"/>
          </p:cNvPicPr>
          <p:nvPr userDrawn="1"/>
        </p:nvPicPr>
        <p:blipFill>
          <a:blip r:embed="rId8" cstate="email">
            <a:extLst>
              <a:ext uri="{28A0092B-C50C-407E-A947-70E740481C1C}">
                <a14:useLocalDpi xmlns:a14="http://schemas.microsoft.com/office/drawing/2010/main"/>
              </a:ext>
            </a:extLst>
          </a:blip>
          <a:stretch>
            <a:fillRect/>
          </a:stretch>
        </p:blipFill>
        <p:spPr>
          <a:xfrm>
            <a:off x="0" y="6244116"/>
            <a:ext cx="12192000" cy="642737"/>
          </a:xfrm>
          <a:prstGeom prst="rect">
            <a:avLst/>
          </a:prstGeom>
        </p:spPr>
      </p:pic>
      <p:sp>
        <p:nvSpPr>
          <p:cNvPr id="2" name="Title Placeholder 1"/>
          <p:cNvSpPr>
            <a:spLocks noGrp="1"/>
          </p:cNvSpPr>
          <p:nvPr>
            <p:ph type="title"/>
          </p:nvPr>
        </p:nvSpPr>
        <p:spPr>
          <a:xfrm>
            <a:off x="581465" y="126609"/>
            <a:ext cx="11179127" cy="111198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581465" y="1575583"/>
            <a:ext cx="11163875" cy="4601381"/>
          </a:xfrm>
          <a:prstGeom prst="rect">
            <a:avLst/>
          </a:prstGeom>
        </p:spPr>
        <p:txBody>
          <a:bodyPr vert="horz" lIns="91440" tIns="45720" rIns="91440" bIns="45720" rtlCol="0" anchor="t" anchorCtr="0">
            <a:normAutofit/>
          </a:bodyPr>
          <a:lstStyle/>
          <a:p>
            <a:pPr lvl="0"/>
            <a:r>
              <a:rPr lang="en-US"/>
              <a:t>Click to edit Master text styles</a:t>
            </a:r>
          </a:p>
          <a:p>
            <a:pPr lvl="1"/>
            <a:r>
              <a:rPr lang="en-US"/>
              <a:t>Second level</a:t>
            </a:r>
          </a:p>
          <a:p>
            <a:pPr lvl="2"/>
            <a:r>
              <a:rPr lang="en-US"/>
              <a:t>Third level</a:t>
            </a:r>
          </a:p>
        </p:txBody>
      </p:sp>
      <p:sp>
        <p:nvSpPr>
          <p:cNvPr id="6" name="Slide Number Placeholder 5"/>
          <p:cNvSpPr>
            <a:spLocks noGrp="1"/>
          </p:cNvSpPr>
          <p:nvPr>
            <p:ph type="sldNum" sz="quarter" idx="4"/>
          </p:nvPr>
        </p:nvSpPr>
        <p:spPr>
          <a:xfrm>
            <a:off x="11653583" y="6354069"/>
            <a:ext cx="27432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76EB727E-5B2C-4310-AB66-CE5561C8F44D}" type="slidenum">
              <a:rPr lang="en-US" smtClean="0"/>
              <a:pPr/>
              <a:t>‹#›</a:t>
            </a:fld>
            <a:endParaRPr lang="en-US"/>
          </a:p>
        </p:txBody>
      </p:sp>
    </p:spTree>
    <p:extLst>
      <p:ext uri="{BB962C8B-B14F-4D97-AF65-F5344CB8AC3E}">
        <p14:creationId xmlns:p14="http://schemas.microsoft.com/office/powerpoint/2010/main" val="467858109"/>
      </p:ext>
    </p:extLst>
  </p:cSld>
  <p:clrMap bg1="lt1" tx1="dk1" bg2="lt2" tx2="dk2" accent1="accent1" accent2="accent2" accent3="accent3" accent4="accent4" accent5="accent5" accent6="accent6" hlink="hlink" folHlink="folHlink"/>
  <p:sldLayoutIdLst>
    <p:sldLayoutId id="2147484376" r:id="rId1"/>
    <p:sldLayoutId id="2147484377" r:id="rId2"/>
    <p:sldLayoutId id="2147484378" r:id="rId3"/>
    <p:sldLayoutId id="2147483680" r:id="rId4"/>
    <p:sldLayoutId id="2147484363" r:id="rId5"/>
    <p:sldLayoutId id="2147483685" r:id="rId6"/>
  </p:sldLayoutIdLst>
  <p:hf hdr="0" ftr="0" dt="0"/>
  <p:txStyles>
    <p:titleStyle>
      <a:lvl1pPr algn="l" defTabSz="685800" rtl="0" eaLnBrk="1" latinLnBrk="0" hangingPunct="1">
        <a:lnSpc>
          <a:spcPct val="90000"/>
        </a:lnSpc>
        <a:spcBef>
          <a:spcPct val="0"/>
        </a:spcBef>
        <a:buNone/>
        <a:defRPr sz="2700" b="1" kern="1200">
          <a:solidFill>
            <a:schemeClr val="bg2">
              <a:lumMod val="50000"/>
            </a:schemeClr>
          </a:solidFill>
          <a:latin typeface="Century Gothic" panose="020B0502020202020204" pitchFamily="34" charset="0"/>
          <a:ea typeface="+mj-ea"/>
          <a:cs typeface="+mj-cs"/>
        </a:defRPr>
      </a:lvl1pPr>
    </p:titleStyle>
    <p:bodyStyle>
      <a:lvl1pPr marL="210741" indent="-210741" algn="l" defTabSz="685800" rtl="0" eaLnBrk="1" latinLnBrk="0" hangingPunct="1">
        <a:lnSpc>
          <a:spcPct val="90000"/>
        </a:lnSpc>
        <a:spcBef>
          <a:spcPts val="750"/>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1pPr>
      <a:lvl2pPr marL="601266" indent="-264319" algn="l" defTabSz="685800" rtl="0" eaLnBrk="1" latinLnBrk="0" hangingPunct="1">
        <a:lnSpc>
          <a:spcPct val="90000"/>
        </a:lnSpc>
        <a:spcBef>
          <a:spcPts val="375"/>
        </a:spcBef>
        <a:buClr>
          <a:schemeClr val="accent2"/>
        </a:buClr>
        <a:buFont typeface="Arial" panose="020B0604020202020204" pitchFamily="34" charset="0"/>
        <a:buChar char="‒"/>
        <a:defRPr sz="2250" kern="1200">
          <a:solidFill>
            <a:schemeClr val="bg2">
              <a:lumMod val="50000"/>
            </a:schemeClr>
          </a:solidFill>
          <a:latin typeface="+mn-lt"/>
          <a:ea typeface="+mn-ea"/>
          <a:cs typeface="+mn-cs"/>
        </a:defRPr>
      </a:lvl2pPr>
      <a:lvl3pPr marL="857250" indent="-171450" algn="l" defTabSz="685800" rtl="0" eaLnBrk="1" latinLnBrk="0" hangingPunct="1">
        <a:lnSpc>
          <a:spcPct val="90000"/>
        </a:lnSpc>
        <a:spcBef>
          <a:spcPts val="375"/>
        </a:spcBef>
        <a:buClr>
          <a:schemeClr val="accent2"/>
        </a:buClr>
        <a:buFont typeface="Arial" panose="020B0604020202020204" pitchFamily="34" charset="0"/>
        <a:buChar char="-"/>
        <a:defRPr sz="1950" kern="1200">
          <a:solidFill>
            <a:schemeClr val="bg2">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F3C8E6B-4EF4-AB45-BB5A-B61F60A67808}"/>
              </a:ext>
            </a:extLst>
          </p:cNvPr>
          <p:cNvSpPr>
            <a:spLocks noGrp="1"/>
          </p:cNvSpPr>
          <p:nvPr>
            <p:ph type="title"/>
          </p:nvPr>
        </p:nvSpPr>
        <p:spPr>
          <a:xfrm>
            <a:off x="609600" y="365125"/>
            <a:ext cx="109728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2233A315-3653-1248-BF74-8D225E1A012F}"/>
              </a:ext>
            </a:extLst>
          </p:cNvPr>
          <p:cNvSpPr>
            <a:spLocks noGrp="1"/>
          </p:cNvSpPr>
          <p:nvPr>
            <p:ph type="body" idx="1"/>
          </p:nvPr>
        </p:nvSpPr>
        <p:spPr>
          <a:xfrm>
            <a:off x="609600" y="1825625"/>
            <a:ext cx="109728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Slide Number Placeholder 7">
            <a:extLst>
              <a:ext uri="{FF2B5EF4-FFF2-40B4-BE49-F238E27FC236}">
                <a16:creationId xmlns:a16="http://schemas.microsoft.com/office/drawing/2014/main" id="{89277CC0-3406-FE41-A537-FC7F5005FE7D}"/>
              </a:ext>
            </a:extLst>
          </p:cNvPr>
          <p:cNvSpPr>
            <a:spLocks noGrp="1"/>
          </p:cNvSpPr>
          <p:nvPr>
            <p:ph type="sldNum" sz="quarter" idx="4"/>
          </p:nvPr>
        </p:nvSpPr>
        <p:spPr>
          <a:xfrm>
            <a:off x="88392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D9264081-CCE9-434F-BC99-2EAB68E1AC8B}" type="slidenum">
              <a:rPr lang="en-US" smtClean="0"/>
              <a:t>‹#›</a:t>
            </a:fld>
            <a:endParaRPr lang="en-US"/>
          </a:p>
        </p:txBody>
      </p:sp>
      <p:sp>
        <p:nvSpPr>
          <p:cNvPr id="9" name="Footer Placeholder 8">
            <a:extLst>
              <a:ext uri="{FF2B5EF4-FFF2-40B4-BE49-F238E27FC236}">
                <a16:creationId xmlns:a16="http://schemas.microsoft.com/office/drawing/2014/main" id="{F6F45CB4-03EB-854B-871B-8D89D60BBF01}"/>
              </a:ext>
            </a:extLst>
          </p:cNvPr>
          <p:cNvSpPr>
            <a:spLocks noGrp="1"/>
          </p:cNvSpPr>
          <p:nvPr>
            <p:ph type="ftr" sz="quarter" idx="3"/>
          </p:nvPr>
        </p:nvSpPr>
        <p:spPr>
          <a:xfrm>
            <a:off x="609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lgn="l"/>
            <a:r>
              <a:rPr lang="en-US"/>
              <a:t>Illinois Perinatal Quality Collaborative</a:t>
            </a:r>
          </a:p>
        </p:txBody>
      </p:sp>
    </p:spTree>
    <p:extLst>
      <p:ext uri="{BB962C8B-B14F-4D97-AF65-F5344CB8AC3E}">
        <p14:creationId xmlns:p14="http://schemas.microsoft.com/office/powerpoint/2010/main" val="4216806677"/>
      </p:ext>
    </p:extLst>
  </p:cSld>
  <p:clrMap bg1="lt1" tx1="dk1" bg2="lt2" tx2="dk2" accent1="accent1" accent2="accent2" accent3="accent3" accent4="accent4" accent5="accent5" accent6="accent6" hlink="hlink" folHlink="folHlink"/>
  <p:sldLayoutIdLst>
    <p:sldLayoutId id="2147483709" r:id="rId1"/>
    <p:sldLayoutId id="2147484365" r:id="rId2"/>
    <p:sldLayoutId id="2147483711" r:id="rId3"/>
    <p:sldLayoutId id="2147484374" r:id="rId4"/>
    <p:sldLayoutId id="2147484364" r:id="rId5"/>
    <p:sldLayoutId id="2147483714" r:id="rId6"/>
    <p:sldLayoutId id="2147483715" r:id="rId7"/>
    <p:sldLayoutId id="2147484366" r:id="rId8"/>
    <p:sldLayoutId id="2147484369" r:id="rId9"/>
    <p:sldLayoutId id="2147484370" r:id="rId10"/>
    <p:sldLayoutId id="2147484371" r:id="rId11"/>
  </p:sldLayoutIdLst>
  <p:hf hdr="0" dt="0"/>
  <p:txStyles>
    <p:title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400" b="0" i="0" kern="1200">
          <a:solidFill>
            <a:schemeClr val="tx1"/>
          </a:solidFill>
          <a:latin typeface="+mn-lt"/>
          <a:ea typeface="Lato" panose="020F0502020204030203" pitchFamily="34" charset="0"/>
          <a:cs typeface="Lato" panose="020F0502020204030203" pitchFamily="34" charset="0"/>
        </a:defRPr>
      </a:lvl1pPr>
      <a:lvl2pPr marL="685800" indent="-228600" algn="l" defTabSz="914400" rtl="0" eaLnBrk="1" latinLnBrk="0" hangingPunct="1">
        <a:lnSpc>
          <a:spcPct val="90000"/>
        </a:lnSpc>
        <a:spcBef>
          <a:spcPts val="500"/>
        </a:spcBef>
        <a:buClr>
          <a:schemeClr val="accent2"/>
        </a:buClr>
        <a:buFont typeface="Arial" panose="020B0604020202020204" pitchFamily="34" charset="0"/>
        <a:buChar char="•"/>
        <a:defRPr sz="2000" b="0" i="0" kern="1200">
          <a:solidFill>
            <a:schemeClr val="tx1"/>
          </a:solidFill>
          <a:latin typeface="+mn-lt"/>
          <a:ea typeface="Lato" panose="020F0502020204030203" pitchFamily="34" charset="0"/>
          <a:cs typeface="Lato" panose="020F0502020204030203" pitchFamily="34" charset="0"/>
        </a:defRPr>
      </a:lvl2pPr>
      <a:lvl3pPr marL="1143000" indent="-228600" algn="l" defTabSz="914400" rtl="0" eaLnBrk="1" latinLnBrk="0" hangingPunct="1">
        <a:lnSpc>
          <a:spcPct val="90000"/>
        </a:lnSpc>
        <a:spcBef>
          <a:spcPts val="500"/>
        </a:spcBef>
        <a:buClr>
          <a:schemeClr val="accent2"/>
        </a:buClr>
        <a:buFont typeface="Arial" panose="020B0604020202020204" pitchFamily="34" charset="0"/>
        <a:buChar char="•"/>
        <a:defRPr sz="1800" b="0" i="0" kern="1200">
          <a:solidFill>
            <a:schemeClr val="tx1"/>
          </a:solidFill>
          <a:latin typeface="+mn-lt"/>
          <a:ea typeface="Lato" panose="020F0502020204030203" pitchFamily="34" charset="0"/>
          <a:cs typeface="Lato" panose="020F0502020204030203"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600" b="0" i="0" kern="1200">
          <a:solidFill>
            <a:schemeClr val="tx1"/>
          </a:solidFill>
          <a:latin typeface="+mn-lt"/>
          <a:ea typeface="Lato" panose="020F0502020204030203" pitchFamily="34" charset="0"/>
          <a:cs typeface="Lato" panose="020F0502020204030203"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7.jpeg"/><Relationship Id="rId1" Type="http://schemas.openxmlformats.org/officeDocument/2006/relationships/slideLayout" Target="../slideLayouts/slideLayout90.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8.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91.xml"/></Relationships>
</file>

<file path=ppt/slides/_rels/slide1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94.xml"/></Relationships>
</file>

<file path=ppt/slides/_rels/slide17.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image" Target="../media/image51.png"/><Relationship Id="rId7" Type="http://schemas.openxmlformats.org/officeDocument/2006/relationships/image" Target="../media/image55.svg"/><Relationship Id="rId2" Type="http://schemas.openxmlformats.org/officeDocument/2006/relationships/notesSlide" Target="../notesSlides/notesSlide6.xml"/><Relationship Id="rId1" Type="http://schemas.openxmlformats.org/officeDocument/2006/relationships/slideLayout" Target="../slideLayouts/slideLayout94.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0" Type="http://schemas.openxmlformats.org/officeDocument/2006/relationships/image" Target="../media/image58.png"/><Relationship Id="rId4" Type="http://schemas.openxmlformats.org/officeDocument/2006/relationships/image" Target="../media/image52.png"/><Relationship Id="rId9" Type="http://schemas.openxmlformats.org/officeDocument/2006/relationships/image" Target="../media/image57.svg"/></Relationships>
</file>

<file path=ppt/slides/_rels/slide1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94.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8.xml"/><Relationship Id="rId1" Type="http://schemas.openxmlformats.org/officeDocument/2006/relationships/slideLayout" Target="../slideLayouts/slideLayout9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9.xml"/><Relationship Id="rId1" Type="http://schemas.openxmlformats.org/officeDocument/2006/relationships/slideLayout" Target="../slideLayouts/slideLayout94.xml"/></Relationships>
</file>

<file path=ppt/slides/_rels/slide21.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0.xml"/><Relationship Id="rId1" Type="http://schemas.openxmlformats.org/officeDocument/2006/relationships/slideLayout" Target="../slideLayouts/slideLayout94.xml"/><Relationship Id="rId5" Type="http://schemas.openxmlformats.org/officeDocument/2006/relationships/chart" Target="../charts/chart5.xml"/><Relationship Id="rId4" Type="http://schemas.openxmlformats.org/officeDocument/2006/relationships/chart" Target="../charts/chart4.xml"/></Relationships>
</file>

<file path=ppt/slides/_rels/slide22.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1.xml"/><Relationship Id="rId1" Type="http://schemas.openxmlformats.org/officeDocument/2006/relationships/slideLayout" Target="../slideLayouts/slideLayout94.xml"/><Relationship Id="rId5" Type="http://schemas.openxmlformats.org/officeDocument/2006/relationships/chart" Target="../charts/chart7.xml"/><Relationship Id="rId4" Type="http://schemas.openxmlformats.org/officeDocument/2006/relationships/chart" Target="../charts/chart6.xml"/></Relationships>
</file>

<file path=ppt/slides/_rels/slide23.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94.xml"/></Relationships>
</file>

<file path=ppt/slides/_rels/slide24.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94.xml"/></Relationships>
</file>

<file path=ppt/slides/_rels/slide25.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12.xml"/><Relationship Id="rId1" Type="http://schemas.openxmlformats.org/officeDocument/2006/relationships/slideLayout" Target="../slideLayouts/slideLayout94.xml"/></Relationships>
</file>

<file path=ppt/slides/_rels/slide26.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13.xml"/><Relationship Id="rId1" Type="http://schemas.openxmlformats.org/officeDocument/2006/relationships/slideLayout" Target="../slideLayouts/slideLayout94.xml"/></Relationships>
</file>

<file path=ppt/slides/_rels/slide27.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14.xml"/><Relationship Id="rId1" Type="http://schemas.openxmlformats.org/officeDocument/2006/relationships/slideLayout" Target="../slideLayouts/slideLayout94.xml"/></Relationships>
</file>

<file path=ppt/slides/_rels/slide28.xml.rels><?xml version="1.0" encoding="UTF-8" standalone="yes"?>
<Relationships xmlns="http://schemas.openxmlformats.org/package/2006/relationships"><Relationship Id="rId8" Type="http://schemas.openxmlformats.org/officeDocument/2006/relationships/hyperlink" Target="mailto:info@ilpqc.org" TargetMode="External"/><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94.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 Id="rId9" Type="http://schemas.microsoft.com/office/2018/10/relationships/comments" Target="../comments/modernComment_11E_DF8D3417.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94.xml"/></Relationships>
</file>

<file path=ppt/slides/_rels/slide3.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image" Target="../media/image38.png"/><Relationship Id="rId1" Type="http://schemas.openxmlformats.org/officeDocument/2006/relationships/slideLayout" Target="../slideLayouts/slideLayout5.xml"/><Relationship Id="rId4" Type="http://schemas.openxmlformats.org/officeDocument/2006/relationships/image" Target="../media/image40.png"/></Relationships>
</file>

<file path=ppt/slides/_rels/slide32.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5.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33.xml.rels><?xml version="1.0" encoding="UTF-8" standalone="yes"?>
<Relationships xmlns="http://schemas.openxmlformats.org/package/2006/relationships"><Relationship Id="rId8" Type="http://schemas.openxmlformats.org/officeDocument/2006/relationships/image" Target="../media/image66.png"/><Relationship Id="rId13" Type="http://schemas.openxmlformats.org/officeDocument/2006/relationships/image" Target="../media/image70.png"/><Relationship Id="rId3" Type="http://schemas.openxmlformats.org/officeDocument/2006/relationships/image" Target="../media/image61.jpeg"/><Relationship Id="rId7" Type="http://schemas.openxmlformats.org/officeDocument/2006/relationships/image" Target="../media/image65.png"/><Relationship Id="rId12" Type="http://schemas.openxmlformats.org/officeDocument/2006/relationships/image" Target="../media/image69.png"/><Relationship Id="rId2" Type="http://schemas.openxmlformats.org/officeDocument/2006/relationships/notesSlide" Target="../notesSlides/notesSlide17.xml"/><Relationship Id="rId1" Type="http://schemas.openxmlformats.org/officeDocument/2006/relationships/slideLayout" Target="../slideLayouts/slideLayout189.xml"/><Relationship Id="rId6" Type="http://schemas.openxmlformats.org/officeDocument/2006/relationships/image" Target="../media/image64.png"/><Relationship Id="rId11" Type="http://schemas.openxmlformats.org/officeDocument/2006/relationships/image" Target="../media/image68.png"/><Relationship Id="rId5" Type="http://schemas.openxmlformats.org/officeDocument/2006/relationships/image" Target="../media/image63.png"/><Relationship Id="rId10" Type="http://schemas.openxmlformats.org/officeDocument/2006/relationships/image" Target="../media/image67.png"/><Relationship Id="rId4" Type="http://schemas.openxmlformats.org/officeDocument/2006/relationships/image" Target="../media/image62.gif"/><Relationship Id="rId9" Type="http://schemas.microsoft.com/office/2007/relationships/hdphoto" Target="../media/hdphoto1.wdp"/></Relationships>
</file>

<file path=ppt/slides/_rels/slide4.xml.rels><?xml version="1.0" encoding="UTF-8" standalone="yes"?>
<Relationships xmlns="http://schemas.openxmlformats.org/package/2006/relationships"><Relationship Id="rId3" Type="http://schemas.openxmlformats.org/officeDocument/2006/relationships/hyperlink" Target="mailto:ellie.suse@northwestern.edu" TargetMode="External"/><Relationship Id="rId2" Type="http://schemas.openxmlformats.org/officeDocument/2006/relationships/image" Target="../media/image41.png"/><Relationship Id="rId1" Type="http://schemas.openxmlformats.org/officeDocument/2006/relationships/slideLayout" Target="../slideLayouts/slideLayout3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94.xml"/></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xml"/><Relationship Id="rId1" Type="http://schemas.openxmlformats.org/officeDocument/2006/relationships/slideLayout" Target="../slideLayouts/slideLayout94.xml"/><Relationship Id="rId4" Type="http://schemas.openxmlformats.org/officeDocument/2006/relationships/image" Target="../media/image44.png"/></Relationships>
</file>

<file path=ppt/slides/_rels/slide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image" Target="../media/image44.png"/><Relationship Id="rId1" Type="http://schemas.openxmlformats.org/officeDocument/2006/relationships/slideLayout" Target="../slideLayouts/slideLayout94.xml"/></Relationships>
</file>

<file path=ppt/slides/_rels/slide9.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hyperlink" Target="mailto:info@ilpqc.org" TargetMode="External"/><Relationship Id="rId1" Type="http://schemas.openxmlformats.org/officeDocument/2006/relationships/slideLayout" Target="../slideLayouts/slideLayout94.xml"/><Relationship Id="rId4" Type="http://schemas.openxmlformats.org/officeDocument/2006/relationships/image" Target="../media/image46.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D742501-F937-8041-84E5-748F96AE991B}"/>
              </a:ext>
            </a:extLst>
          </p:cNvPr>
          <p:cNvSpPr>
            <a:spLocks noGrp="1"/>
          </p:cNvSpPr>
          <p:nvPr>
            <p:ph type="ctrTitle"/>
          </p:nvPr>
        </p:nvSpPr>
        <p:spPr>
          <a:xfrm>
            <a:off x="1413310" y="1561331"/>
            <a:ext cx="6511490" cy="2267013"/>
          </a:xfrm>
        </p:spPr>
        <p:txBody>
          <a:bodyPr/>
          <a:lstStyle/>
          <a:p>
            <a:r>
              <a:rPr lang="en-US" dirty="0">
                <a:ea typeface="Lato Medium"/>
                <a:cs typeface="Lato Medium"/>
              </a:rPr>
              <a:t>PVB Monthly Webinar: </a:t>
            </a:r>
            <a:br>
              <a:rPr lang="en-US" dirty="0">
                <a:ea typeface="Lato Medium"/>
                <a:cs typeface="Lato Medium"/>
              </a:rPr>
            </a:br>
            <a:r>
              <a:rPr lang="en-US" dirty="0">
                <a:ea typeface="Lato Medium"/>
                <a:cs typeface="Lato Medium"/>
              </a:rPr>
              <a:t>Small group discussions strategies for success</a:t>
            </a:r>
            <a:endParaRPr lang="en-US" sz="3600" b="0" dirty="0">
              <a:ea typeface="Lato Medium"/>
              <a:cs typeface="Lato Medium"/>
            </a:endParaRPr>
          </a:p>
        </p:txBody>
      </p:sp>
      <p:sp>
        <p:nvSpPr>
          <p:cNvPr id="4" name="Subtitle 3">
            <a:extLst>
              <a:ext uri="{FF2B5EF4-FFF2-40B4-BE49-F238E27FC236}">
                <a16:creationId xmlns:a16="http://schemas.microsoft.com/office/drawing/2014/main" id="{19922563-64D6-2A4E-B048-13AC25DB45AD}"/>
              </a:ext>
            </a:extLst>
          </p:cNvPr>
          <p:cNvSpPr>
            <a:spLocks noGrp="1"/>
          </p:cNvSpPr>
          <p:nvPr>
            <p:ph type="subTitle" idx="1"/>
          </p:nvPr>
        </p:nvSpPr>
        <p:spPr>
          <a:xfrm>
            <a:off x="1413310" y="3966184"/>
            <a:ext cx="5194433" cy="986569"/>
          </a:xfrm>
        </p:spPr>
        <p:txBody>
          <a:bodyPr vert="horz" lIns="91440" tIns="45720" rIns="91440" bIns="45720" rtlCol="0" anchor="t">
            <a:noAutofit/>
          </a:bodyPr>
          <a:lstStyle/>
          <a:p>
            <a:r>
              <a:rPr lang="en-US" dirty="0">
                <a:ea typeface="+mn-lt"/>
                <a:cs typeface="+mn-lt"/>
              </a:rPr>
              <a:t>February 27</a:t>
            </a:r>
            <a:r>
              <a:rPr lang="en-US" baseline="30000" dirty="0">
                <a:ea typeface="+mn-lt"/>
                <a:cs typeface="+mn-lt"/>
              </a:rPr>
              <a:t>th</a:t>
            </a:r>
            <a:r>
              <a:rPr lang="en-US" dirty="0">
                <a:ea typeface="+mn-lt"/>
                <a:cs typeface="+mn-lt"/>
              </a:rPr>
              <a:t>, 2023, at 12:30 PM</a:t>
            </a:r>
            <a:endParaRPr lang="en-US" dirty="0"/>
          </a:p>
        </p:txBody>
      </p:sp>
      <p:pic>
        <p:nvPicPr>
          <p:cNvPr id="6" name="Picture 6" descr="Pregnant woman holding stomach">
            <a:extLst>
              <a:ext uri="{FF2B5EF4-FFF2-40B4-BE49-F238E27FC236}">
                <a16:creationId xmlns:a16="http://schemas.microsoft.com/office/drawing/2014/main" id="{30C1A51F-9C76-7D94-57CD-AC4A39EF6029}"/>
              </a:ext>
            </a:extLst>
          </p:cNvPr>
          <p:cNvPicPr>
            <a:picLocks noGrp="1" noChangeAspect="1"/>
          </p:cNvPicPr>
          <p:nvPr>
            <p:ph type="pic" sz="quarter" idx="11"/>
          </p:nvPr>
        </p:nvPicPr>
        <p:blipFill rotWithShape="1">
          <a:blip r:embed="rId2" cstate="email">
            <a:extLst>
              <a:ext uri="{28A0092B-C50C-407E-A947-70E740481C1C}">
                <a14:useLocalDpi xmlns:a14="http://schemas.microsoft.com/office/drawing/2010/main"/>
              </a:ext>
            </a:extLst>
          </a:blip>
          <a:srcRect t="-597"/>
          <a:stretch/>
        </p:blipFill>
        <p:spPr>
          <a:xfrm>
            <a:off x="7683626" y="436922"/>
            <a:ext cx="4508374" cy="5279954"/>
          </a:xfrm>
        </p:spPr>
      </p:pic>
    </p:spTree>
    <p:extLst>
      <p:ext uri="{BB962C8B-B14F-4D97-AF65-F5344CB8AC3E}">
        <p14:creationId xmlns:p14="http://schemas.microsoft.com/office/powerpoint/2010/main" val="20082430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026A67-4D5B-7E61-4D6D-61AAF5EB5882}"/>
              </a:ext>
            </a:extLst>
          </p:cNvPr>
          <p:cNvSpPr>
            <a:spLocks noGrp="1"/>
          </p:cNvSpPr>
          <p:nvPr>
            <p:ph type="title"/>
          </p:nvPr>
        </p:nvSpPr>
        <p:spPr>
          <a:xfrm>
            <a:off x="347272" y="177748"/>
            <a:ext cx="10972800" cy="1325563"/>
          </a:xfrm>
        </p:spPr>
        <p:txBody>
          <a:bodyPr/>
          <a:lstStyle/>
          <a:p>
            <a:r>
              <a:rPr lang="en-US">
                <a:ea typeface="Lato Medium"/>
                <a:cs typeface="Lato Medium"/>
              </a:rPr>
              <a:t>2023 Face to Face: Let's Get Ready! </a:t>
            </a:r>
            <a:endParaRPr lang="en-US"/>
          </a:p>
        </p:txBody>
      </p:sp>
      <p:sp>
        <p:nvSpPr>
          <p:cNvPr id="4" name="Slide Number Placeholder 3">
            <a:extLst>
              <a:ext uri="{FF2B5EF4-FFF2-40B4-BE49-F238E27FC236}">
                <a16:creationId xmlns:a16="http://schemas.microsoft.com/office/drawing/2014/main" id="{91D1630E-9E80-0990-5B14-135FAC430B9B}"/>
              </a:ext>
            </a:extLst>
          </p:cNvPr>
          <p:cNvSpPr>
            <a:spLocks noGrp="1"/>
          </p:cNvSpPr>
          <p:nvPr>
            <p:ph type="sldNum" sz="quarter" idx="10"/>
          </p:nvPr>
        </p:nvSpPr>
        <p:spPr/>
        <p:txBody>
          <a:bodyPr/>
          <a:lstStyle/>
          <a:p>
            <a:fld id="{97033E4B-E3EB-3D46-B2D8-3159663620FA}" type="slidenum">
              <a:rPr lang="en-US" smtClean="0"/>
              <a:pPr/>
              <a:t>10</a:t>
            </a:fld>
            <a:endParaRPr lang="en-US"/>
          </a:p>
        </p:txBody>
      </p:sp>
      <p:graphicFrame>
        <p:nvGraphicFramePr>
          <p:cNvPr id="3" name="Diagram 4">
            <a:extLst>
              <a:ext uri="{FF2B5EF4-FFF2-40B4-BE49-F238E27FC236}">
                <a16:creationId xmlns:a16="http://schemas.microsoft.com/office/drawing/2014/main" id="{CE3144B1-63D5-3A35-936E-61EA985FC06C}"/>
              </a:ext>
            </a:extLst>
          </p:cNvPr>
          <p:cNvGraphicFramePr>
            <a:graphicFrameLocks noGrp="1"/>
          </p:cNvGraphicFramePr>
          <p:nvPr>
            <p:ph idx="1"/>
            <p:extLst>
              <p:ext uri="{D42A27DB-BD31-4B8C-83A1-F6EECF244321}">
                <p14:modId xmlns:p14="http://schemas.microsoft.com/office/powerpoint/2010/main" val="3344182569"/>
              </p:ext>
            </p:extLst>
          </p:nvPr>
        </p:nvGraphicFramePr>
        <p:xfrm>
          <a:off x="49770" y="958490"/>
          <a:ext cx="12368548" cy="540584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101" name="Explosion: 8 Points 2100">
            <a:extLst>
              <a:ext uri="{FF2B5EF4-FFF2-40B4-BE49-F238E27FC236}">
                <a16:creationId xmlns:a16="http://schemas.microsoft.com/office/drawing/2014/main" id="{E1873166-440C-0FD6-168C-D98166865361}"/>
              </a:ext>
            </a:extLst>
          </p:cNvPr>
          <p:cNvSpPr/>
          <p:nvPr/>
        </p:nvSpPr>
        <p:spPr>
          <a:xfrm>
            <a:off x="253485" y="5330761"/>
            <a:ext cx="2887131" cy="1889906"/>
          </a:xfrm>
          <a:prstGeom prst="irregularSeal1">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cs typeface="Calibri"/>
              </a:rPr>
              <a:t>Registration opens soon! </a:t>
            </a:r>
            <a:endParaRPr lang="en-US"/>
          </a:p>
        </p:txBody>
      </p:sp>
      <p:sp>
        <p:nvSpPr>
          <p:cNvPr id="2102" name="Explosion: 8 Points 2101">
            <a:extLst>
              <a:ext uri="{FF2B5EF4-FFF2-40B4-BE49-F238E27FC236}">
                <a16:creationId xmlns:a16="http://schemas.microsoft.com/office/drawing/2014/main" id="{FEFF9F02-D0C1-A91A-2FE3-BA6D12A814C2}"/>
              </a:ext>
            </a:extLst>
          </p:cNvPr>
          <p:cNvSpPr/>
          <p:nvPr/>
        </p:nvSpPr>
        <p:spPr>
          <a:xfrm>
            <a:off x="9057199" y="5328112"/>
            <a:ext cx="2734732" cy="1744133"/>
          </a:xfrm>
          <a:prstGeom prst="irregularSeal1">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cs typeface="Calibri"/>
              </a:rPr>
              <a:t>Templates coming soon! </a:t>
            </a:r>
            <a:endParaRPr lang="en-US"/>
          </a:p>
        </p:txBody>
      </p:sp>
      <p:sp>
        <p:nvSpPr>
          <p:cNvPr id="13" name="Explosion: 8 Points 12">
            <a:extLst>
              <a:ext uri="{FF2B5EF4-FFF2-40B4-BE49-F238E27FC236}">
                <a16:creationId xmlns:a16="http://schemas.microsoft.com/office/drawing/2014/main" id="{4E5C9945-CED1-DE11-01CE-2B8D475ED1DB}"/>
              </a:ext>
            </a:extLst>
          </p:cNvPr>
          <p:cNvSpPr/>
          <p:nvPr/>
        </p:nvSpPr>
        <p:spPr>
          <a:xfrm>
            <a:off x="5472929" y="4484758"/>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14391943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Text Box 5"/>
          <p:cNvSpPr txBox="1">
            <a:spLocks noChangeArrowheads="1"/>
          </p:cNvSpPr>
          <p:nvPr/>
        </p:nvSpPr>
        <p:spPr bwMode="auto">
          <a:xfrm>
            <a:off x="343712" y="1555414"/>
            <a:ext cx="11407302" cy="39395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wrap="square">
            <a:spAutoFit/>
          </a:bodyPr>
          <a:lstStyle>
            <a:lvl1pPr marL="457200" indent="-457200">
              <a:defRPr sz="3200">
                <a:solidFill>
                  <a:schemeClr val="tx1"/>
                </a:solidFill>
                <a:latin typeface="Times New Roman" pitchFamily="18" charset="0"/>
              </a:defRPr>
            </a:lvl1pPr>
            <a:lvl2pPr marL="914400" indent="-457200">
              <a:defRPr sz="2800">
                <a:solidFill>
                  <a:schemeClr val="tx1"/>
                </a:solidFill>
                <a:latin typeface="Times New Roman" pitchFamily="18" charset="0"/>
              </a:defRPr>
            </a:lvl2pPr>
            <a:lvl3pPr>
              <a:defRPr sz="2400">
                <a:solidFill>
                  <a:schemeClr val="tx1"/>
                </a:solidFill>
                <a:latin typeface="Times New Roman" pitchFamily="18" charset="0"/>
              </a:defRPr>
            </a:lvl3pPr>
            <a:lvl4pPr>
              <a:defRPr sz="2000">
                <a:solidFill>
                  <a:schemeClr val="tx1"/>
                </a:solidFill>
                <a:latin typeface="Times New Roman" pitchFamily="18" charset="0"/>
              </a:defRPr>
            </a:lvl4pPr>
            <a:lvl5pPr>
              <a:defRPr sz="2000">
                <a:solidFill>
                  <a:schemeClr val="tx1"/>
                </a:solidFill>
                <a:latin typeface="Times New Roman" pitchFamily="18" charset="0"/>
              </a:defRPr>
            </a:lvl5pPr>
            <a:lvl6pPr>
              <a:defRPr sz="2000">
                <a:solidFill>
                  <a:schemeClr val="tx1"/>
                </a:solidFill>
                <a:latin typeface="Times New Roman" pitchFamily="18" charset="0"/>
              </a:defRPr>
            </a:lvl6pPr>
            <a:lvl7pPr>
              <a:defRPr sz="2000">
                <a:solidFill>
                  <a:schemeClr val="tx1"/>
                </a:solidFill>
                <a:latin typeface="Times New Roman" pitchFamily="18" charset="0"/>
              </a:defRPr>
            </a:lvl7pPr>
            <a:lvl8pPr>
              <a:defRPr sz="2000">
                <a:solidFill>
                  <a:schemeClr val="tx1"/>
                </a:solidFill>
                <a:latin typeface="Times New Roman" pitchFamily="18" charset="0"/>
              </a:defRPr>
            </a:lvl8pPr>
            <a:lvl9pPr>
              <a:defRPr sz="2000">
                <a:solidFill>
                  <a:schemeClr val="tx1"/>
                </a:solidFill>
                <a:latin typeface="Times New Roman" pitchFamily="18" charset="0"/>
              </a:defRPr>
            </a:lvl9pPr>
          </a:lstStyle>
          <a:p>
            <a:pPr>
              <a:spcBef>
                <a:spcPct val="50000"/>
              </a:spcBef>
              <a:buClr>
                <a:srgbClr val="F58466"/>
              </a:buClr>
              <a:buFontTx/>
              <a:buChar char="•"/>
            </a:pPr>
            <a:r>
              <a:rPr lang="en-US" altLang="en-US" sz="2000" dirty="0">
                <a:latin typeface="+mn-lt"/>
              </a:rPr>
              <a:t>At the Face-to-Face Learning Session, use the Storyboard to tell your team’s story descriptively, clearly and creatively – photos, collages and illustrations are welcome.  </a:t>
            </a:r>
          </a:p>
          <a:p>
            <a:pPr>
              <a:spcBef>
                <a:spcPct val="50000"/>
              </a:spcBef>
              <a:buClr>
                <a:srgbClr val="F58466"/>
              </a:buClr>
              <a:buFontTx/>
              <a:buChar char="•"/>
            </a:pPr>
            <a:r>
              <a:rPr lang="en-US" altLang="en-US" sz="2000" dirty="0">
                <a:latin typeface="+mn-lt"/>
              </a:rPr>
              <a:t>There is no wrong way to create a Storyboard so don’t be afraid to be creative. Additionally, be sure to keep it simple; the Storyboard is not meant to be an extremely time-consuming project.  </a:t>
            </a:r>
          </a:p>
          <a:p>
            <a:pPr>
              <a:spcBef>
                <a:spcPct val="50000"/>
              </a:spcBef>
              <a:buClr>
                <a:srgbClr val="F58466"/>
              </a:buClr>
              <a:buFontTx/>
              <a:buChar char="•"/>
            </a:pPr>
            <a:r>
              <a:rPr lang="en-US" altLang="en-US" sz="2000" b="1" i="1" dirty="0">
                <a:latin typeface="+mn-lt"/>
              </a:rPr>
              <a:t>Storyboards must fit into a space approximately 28 x 40 inches</a:t>
            </a:r>
            <a:r>
              <a:rPr lang="en-US" altLang="en-US" sz="2000" dirty="0">
                <a:latin typeface="+mn-lt"/>
              </a:rPr>
              <a:t>.  It may be created from a collection of 6-8 letter-sized sheets (print outs of your power point slides or word documents) that are convenient for carrying while traveling. Boards for posting and pushpins will be provided at the Face-to-Face Learning Session. </a:t>
            </a:r>
          </a:p>
          <a:p>
            <a:pPr>
              <a:spcBef>
                <a:spcPct val="50000"/>
              </a:spcBef>
              <a:buClr>
                <a:srgbClr val="F58466"/>
              </a:buClr>
              <a:buFontTx/>
              <a:buChar char="•"/>
            </a:pPr>
            <a:r>
              <a:rPr lang="en-US" altLang="en-US" sz="2000" b="1" dirty="0">
                <a:latin typeface="+mn-lt"/>
              </a:rPr>
              <a:t>Share your story</a:t>
            </a:r>
            <a:r>
              <a:rPr lang="en-US" altLang="en-US" sz="2000" dirty="0">
                <a:latin typeface="+mn-lt"/>
              </a:rPr>
              <a:t>: about your hospital, about your team, describe your goals for this initiative, include process flow diagram draft, can include any barriers you have identified and opportunities for improvement, describe next steps or action items for your team</a:t>
            </a:r>
          </a:p>
        </p:txBody>
      </p:sp>
      <p:sp>
        <p:nvSpPr>
          <p:cNvPr id="2" name="Title 1"/>
          <p:cNvSpPr>
            <a:spLocks noGrp="1"/>
          </p:cNvSpPr>
          <p:nvPr>
            <p:ph type="title"/>
          </p:nvPr>
        </p:nvSpPr>
        <p:spPr/>
        <p:txBody>
          <a:bodyPr/>
          <a:lstStyle/>
          <a:p>
            <a:r>
              <a:rPr lang="en-US" dirty="0"/>
              <a:t>Story Board Instructions</a:t>
            </a:r>
          </a:p>
        </p:txBody>
      </p:sp>
    </p:spTree>
    <p:extLst>
      <p:ext uri="{BB962C8B-B14F-4D97-AF65-F5344CB8AC3E}">
        <p14:creationId xmlns:p14="http://schemas.microsoft.com/office/powerpoint/2010/main" val="5616123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5"/>
          <p:cNvSpPr txBox="1">
            <a:spLocks noChangeArrowheads="1"/>
          </p:cNvSpPr>
          <p:nvPr/>
        </p:nvSpPr>
        <p:spPr>
          <a:xfrm>
            <a:off x="765243" y="1470498"/>
            <a:ext cx="9215336" cy="5486400"/>
          </a:xfrm>
          <a:prstGeom prst="rect">
            <a:avLst/>
          </a:prstGeom>
        </p:spPr>
        <p:txBody>
          <a:bodyPr lIns="91440" tIns="45720" rIns="91440" bIns="45720" anchor="t"/>
          <a:lstStyle>
            <a:lvl1pPr marL="342900" indent="-342900" algn="l" rtl="0" eaLnBrk="0" fontAlgn="base" hangingPunct="0">
              <a:spcBef>
                <a:spcPct val="20000"/>
              </a:spcBef>
              <a:spcAft>
                <a:spcPct val="0"/>
              </a:spcAft>
              <a:buFont typeface="Arial" pitchFamily="34" charset="0"/>
              <a:buChar char="•"/>
              <a:defRPr sz="3200" kern="1200">
                <a:solidFill>
                  <a:schemeClr val="tx1"/>
                </a:solidFill>
                <a:latin typeface="+mn-lt"/>
                <a:ea typeface="MS PGothic" pitchFamily="34" charset="-128"/>
                <a:cs typeface="MS PGothic" charset="0"/>
              </a:defRPr>
            </a:lvl1pPr>
            <a:lvl2pPr marL="742950" indent="-285750" algn="l" rtl="0" eaLnBrk="0" fontAlgn="base" hangingPunct="0">
              <a:spcBef>
                <a:spcPct val="20000"/>
              </a:spcBef>
              <a:spcAft>
                <a:spcPct val="0"/>
              </a:spcAft>
              <a:buFont typeface="Arial" pitchFamily="34" charset="0"/>
              <a:buChar char="–"/>
              <a:defRPr sz="2800" kern="1200">
                <a:solidFill>
                  <a:schemeClr val="tx1"/>
                </a:solidFill>
                <a:latin typeface="+mn-lt"/>
                <a:ea typeface="MS PGothic" pitchFamily="34" charset="-128"/>
                <a:cs typeface="MS PGothic" charset="0"/>
              </a:defRPr>
            </a:lvl2pPr>
            <a:lvl3pPr marL="1143000" indent="-228600" algn="l" rtl="0" eaLnBrk="0" fontAlgn="base" hangingPunct="0">
              <a:spcBef>
                <a:spcPct val="20000"/>
              </a:spcBef>
              <a:spcAft>
                <a:spcPct val="0"/>
              </a:spcAft>
              <a:buFont typeface="Arial" pitchFamily="34" charset="0"/>
              <a:buChar char="•"/>
              <a:defRPr sz="2400" kern="1200">
                <a:solidFill>
                  <a:schemeClr val="tx1"/>
                </a:solidFill>
                <a:latin typeface="+mn-lt"/>
                <a:ea typeface="MS PGothic" pitchFamily="34" charset="-128"/>
                <a:cs typeface="MS PGothic" charset="0"/>
              </a:defRPr>
            </a:lvl3pPr>
            <a:lvl4pPr marL="16002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4pPr>
            <a:lvl5pPr marL="2057400" indent="-228600" algn="l" rtl="0" eaLnBrk="0" fontAlgn="base" hangingPunct="0">
              <a:spcBef>
                <a:spcPct val="20000"/>
              </a:spcBef>
              <a:spcAft>
                <a:spcPct val="0"/>
              </a:spcAft>
              <a:buFont typeface="Arial" pitchFamily="34" charset="0"/>
              <a:buChar char="»"/>
              <a:defRPr sz="2000" kern="1200">
                <a:solidFill>
                  <a:schemeClr val="tx1"/>
                </a:solidFill>
                <a:latin typeface="+mn-lt"/>
                <a:ea typeface="MS PGothic" pitchFamily="34" charset="-128"/>
                <a:cs typeface="MS PGothic"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571500" indent="-457200">
              <a:spcBef>
                <a:spcPct val="50000"/>
              </a:spcBef>
              <a:buClr>
                <a:srgbClr val="F58466"/>
              </a:buClr>
              <a:buFontTx/>
              <a:buChar char="•"/>
            </a:pPr>
            <a:r>
              <a:rPr lang="en-US" altLang="en-US" sz="2600" b="1" dirty="0">
                <a:ea typeface="MS PGothic"/>
                <a:cs typeface="+mn-cs"/>
              </a:rPr>
              <a:t>PVB:</a:t>
            </a:r>
            <a:endParaRPr lang="en-US" altLang="en-US" sz="2600" b="1" dirty="0">
              <a:ea typeface="MS PGothic"/>
              <a:cs typeface="Calibri"/>
            </a:endParaRPr>
          </a:p>
          <a:p>
            <a:pPr marL="971550" lvl="1" indent="-457200">
              <a:spcBef>
                <a:spcPct val="50000"/>
              </a:spcBef>
              <a:buClr>
                <a:schemeClr val="accent1"/>
              </a:buClr>
              <a:buFontTx/>
              <a:buChar char="•"/>
            </a:pPr>
            <a:r>
              <a:rPr lang="en-US" altLang="en-US" sz="2600" dirty="0">
                <a:ea typeface="MS PGothic"/>
              </a:rPr>
              <a:t>Share your success! (Including Data) what strategies are in place?  What has been most successful?  </a:t>
            </a:r>
          </a:p>
          <a:p>
            <a:pPr marL="971550" lvl="1" indent="-457200">
              <a:spcBef>
                <a:spcPct val="50000"/>
              </a:spcBef>
              <a:buClr>
                <a:schemeClr val="accent1"/>
              </a:buClr>
              <a:buFontTx/>
              <a:buChar char="•"/>
            </a:pPr>
            <a:r>
              <a:rPr lang="en-US" altLang="en-US" sz="2600" dirty="0">
                <a:ea typeface="MS PGothic"/>
              </a:rPr>
              <a:t>Barriers you are still facing and plans to overcome them</a:t>
            </a:r>
          </a:p>
          <a:p>
            <a:pPr marL="971550" lvl="1" indent="-457200">
              <a:spcBef>
                <a:spcPct val="50000"/>
              </a:spcBef>
              <a:buClr>
                <a:schemeClr val="accent1"/>
              </a:buClr>
              <a:buFontTx/>
              <a:buChar char="•"/>
            </a:pPr>
            <a:r>
              <a:rPr lang="en-US" altLang="en-US" sz="2600" dirty="0">
                <a:ea typeface="MS PGothic"/>
              </a:rPr>
              <a:t>Next Steps</a:t>
            </a:r>
          </a:p>
          <a:p>
            <a:pPr marL="571500" indent="-457200">
              <a:spcBef>
                <a:spcPct val="50000"/>
              </a:spcBef>
              <a:buClr>
                <a:srgbClr val="F58466"/>
              </a:buClr>
              <a:buFontTx/>
              <a:buChar char="•"/>
            </a:pPr>
            <a:r>
              <a:rPr lang="en-US" altLang="en-US" sz="2600" b="1" dirty="0">
                <a:ea typeface="MS PGothic"/>
              </a:rPr>
              <a:t>BE:</a:t>
            </a:r>
          </a:p>
          <a:p>
            <a:pPr marL="971550" lvl="1" indent="-457200">
              <a:spcBef>
                <a:spcPct val="50000"/>
              </a:spcBef>
              <a:buClr>
                <a:schemeClr val="accent1"/>
              </a:buClr>
              <a:buFontTx/>
              <a:buChar char="•"/>
            </a:pPr>
            <a:r>
              <a:rPr lang="en-US" altLang="en-US" sz="2600" dirty="0">
                <a:ea typeface="MS PGothic"/>
              </a:rPr>
              <a:t>Share your success! (Including Data)</a:t>
            </a:r>
          </a:p>
          <a:p>
            <a:pPr marL="971550" lvl="1" indent="-457200">
              <a:spcBef>
                <a:spcPct val="50000"/>
              </a:spcBef>
              <a:buClr>
                <a:schemeClr val="accent1"/>
              </a:buClr>
              <a:buFontTx/>
              <a:buChar char="•"/>
            </a:pPr>
            <a:r>
              <a:rPr lang="en-US" altLang="en-US" sz="2600" dirty="0">
                <a:ea typeface="MS PGothic"/>
              </a:rPr>
              <a:t>Barriers you are still facing and plans to overcome them</a:t>
            </a:r>
          </a:p>
          <a:p>
            <a:pPr marL="971550" lvl="1" indent="-457200">
              <a:spcBef>
                <a:spcPct val="50000"/>
              </a:spcBef>
              <a:buClr>
                <a:schemeClr val="accent1"/>
              </a:buClr>
              <a:buFontTx/>
              <a:buChar char="•"/>
            </a:pPr>
            <a:r>
              <a:rPr lang="en-US" altLang="en-US" sz="2600" dirty="0">
                <a:ea typeface="MS PGothic"/>
              </a:rPr>
              <a:t>Next Steps</a:t>
            </a:r>
          </a:p>
          <a:p>
            <a:pPr marL="971550" lvl="1" indent="-457200">
              <a:spcBef>
                <a:spcPct val="50000"/>
              </a:spcBef>
              <a:buClr>
                <a:srgbClr val="F58466"/>
              </a:buClr>
              <a:buFontTx/>
              <a:buChar char="•"/>
            </a:pPr>
            <a:endParaRPr lang="en-US" altLang="en-US" sz="2000" b="1" dirty="0">
              <a:cs typeface="+mn-cs"/>
            </a:endParaRPr>
          </a:p>
          <a:p>
            <a:pPr marL="971550" lvl="1" indent="-457200">
              <a:spcBef>
                <a:spcPct val="50000"/>
              </a:spcBef>
              <a:buClr>
                <a:srgbClr val="F58466"/>
              </a:buClr>
              <a:buFontTx/>
              <a:buChar char="•"/>
            </a:pPr>
            <a:endParaRPr lang="en-US" altLang="en-US" dirty="0"/>
          </a:p>
          <a:p>
            <a:pPr lvl="1">
              <a:buFontTx/>
              <a:buChar char="–"/>
            </a:pPr>
            <a:endParaRPr lang="en-US" altLang="en-US" sz="2400" dirty="0"/>
          </a:p>
          <a:p>
            <a:pPr lvl="1">
              <a:buFontTx/>
              <a:buChar char="–"/>
            </a:pPr>
            <a:endParaRPr lang="en-US" altLang="en-US" sz="2400" dirty="0"/>
          </a:p>
          <a:p>
            <a:pPr lvl="1"/>
            <a:endParaRPr lang="en-US" altLang="en-US" sz="2400" dirty="0"/>
          </a:p>
          <a:p>
            <a:endParaRPr lang="en-US" altLang="en-US" sz="2800" dirty="0"/>
          </a:p>
        </p:txBody>
      </p:sp>
      <p:sp>
        <p:nvSpPr>
          <p:cNvPr id="5" name="Title 1">
            <a:extLst>
              <a:ext uri="{FF2B5EF4-FFF2-40B4-BE49-F238E27FC236}">
                <a16:creationId xmlns:a16="http://schemas.microsoft.com/office/drawing/2014/main" id="{4454D9D2-FD51-4B03-BD7A-F1350B0E301B}"/>
              </a:ext>
            </a:extLst>
          </p:cNvPr>
          <p:cNvSpPr txBox="1">
            <a:spLocks/>
          </p:cNvSpPr>
          <p:nvPr/>
        </p:nvSpPr>
        <p:spPr>
          <a:xfrm>
            <a:off x="609600" y="365125"/>
            <a:ext cx="10972800" cy="1325563"/>
          </a:xfrm>
          <a:prstGeom prst="rect">
            <a:avLst/>
          </a:prstGeom>
        </p:spPr>
        <p:txBody>
          <a:bodyPr vert="horz" lIns="91440" tIns="45720" rIns="91440" bIns="45720" rtlCol="0" anchor="ctr">
            <a:noAutofit/>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r>
              <a:rPr lang="en-US" dirty="0">
                <a:ea typeface="Lato Medium"/>
                <a:cs typeface="Lato Medium"/>
              </a:rPr>
              <a:t>Initiative Specific Content</a:t>
            </a:r>
            <a:endParaRPr lang="en-US" dirty="0"/>
          </a:p>
        </p:txBody>
      </p:sp>
    </p:spTree>
    <p:extLst>
      <p:ext uri="{BB962C8B-B14F-4D97-AF65-F5344CB8AC3E}">
        <p14:creationId xmlns:p14="http://schemas.microsoft.com/office/powerpoint/2010/main" val="411903866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3095018" y="833490"/>
            <a:ext cx="28179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5990618" y="833490"/>
            <a:ext cx="2665562"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p:cNvSpPr/>
          <p:nvPr/>
        </p:nvSpPr>
        <p:spPr>
          <a:xfrm>
            <a:off x="8771198" y="833490"/>
            <a:ext cx="2960359" cy="5547855"/>
          </a:xfrm>
          <a:prstGeom prst="rect">
            <a:avLst/>
          </a:prstGeom>
          <a:solidFill>
            <a:schemeClr val="bg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extBox 1"/>
          <p:cNvSpPr txBox="1"/>
          <p:nvPr/>
        </p:nvSpPr>
        <p:spPr>
          <a:xfrm>
            <a:off x="3780818" y="974388"/>
            <a:ext cx="1676400" cy="369332"/>
          </a:xfrm>
          <a:prstGeom prst="rect">
            <a:avLst/>
          </a:prstGeom>
          <a:noFill/>
          <a:ln>
            <a:solidFill>
              <a:schemeClr val="tx1"/>
            </a:solidFill>
          </a:ln>
        </p:spPr>
        <p:txBody>
          <a:bodyPr wrap="square" rtlCol="0">
            <a:spAutoFit/>
          </a:bodyPr>
          <a:lstStyle/>
          <a:p>
            <a:pPr algn="ctr"/>
            <a:r>
              <a:rPr lang="en-US" dirty="0"/>
              <a:t>Hospital Name</a:t>
            </a:r>
          </a:p>
        </p:txBody>
      </p:sp>
      <p:sp>
        <p:nvSpPr>
          <p:cNvPr id="9" name="TextBox 8"/>
          <p:cNvSpPr txBox="1"/>
          <p:nvPr/>
        </p:nvSpPr>
        <p:spPr>
          <a:xfrm>
            <a:off x="3782256" y="3488988"/>
            <a:ext cx="1676400" cy="646331"/>
          </a:xfrm>
          <a:prstGeom prst="rect">
            <a:avLst/>
          </a:prstGeom>
          <a:noFill/>
          <a:ln>
            <a:solidFill>
              <a:schemeClr val="tx1"/>
            </a:solidFill>
          </a:ln>
        </p:spPr>
        <p:txBody>
          <a:bodyPr wrap="square" rtlCol="0">
            <a:spAutoFit/>
          </a:bodyPr>
          <a:lstStyle/>
          <a:p>
            <a:pPr algn="ctr"/>
            <a:r>
              <a:rPr lang="en-US" dirty="0"/>
              <a:t>PVB QI Team Members</a:t>
            </a:r>
          </a:p>
        </p:txBody>
      </p:sp>
      <p:sp>
        <p:nvSpPr>
          <p:cNvPr id="10" name="TextBox 9"/>
          <p:cNvSpPr txBox="1"/>
          <p:nvPr/>
        </p:nvSpPr>
        <p:spPr>
          <a:xfrm>
            <a:off x="3782256" y="4775458"/>
            <a:ext cx="1676400" cy="646331"/>
          </a:xfrm>
          <a:prstGeom prst="rect">
            <a:avLst/>
          </a:prstGeom>
          <a:noFill/>
          <a:ln>
            <a:solidFill>
              <a:schemeClr val="tx1"/>
            </a:solidFill>
          </a:ln>
        </p:spPr>
        <p:txBody>
          <a:bodyPr wrap="square" rtlCol="0">
            <a:spAutoFit/>
          </a:bodyPr>
          <a:lstStyle/>
          <a:p>
            <a:pPr algn="ctr"/>
            <a:r>
              <a:rPr lang="en-US" dirty="0"/>
              <a:t>BE QI Team Members</a:t>
            </a:r>
          </a:p>
        </p:txBody>
      </p:sp>
      <p:sp>
        <p:nvSpPr>
          <p:cNvPr id="11" name="TextBox 10"/>
          <p:cNvSpPr txBox="1"/>
          <p:nvPr/>
        </p:nvSpPr>
        <p:spPr>
          <a:xfrm>
            <a:off x="3780818" y="2193589"/>
            <a:ext cx="1676400" cy="646331"/>
          </a:xfrm>
          <a:prstGeom prst="rect">
            <a:avLst/>
          </a:prstGeom>
          <a:noFill/>
          <a:ln>
            <a:solidFill>
              <a:schemeClr val="tx1"/>
            </a:solidFill>
          </a:ln>
        </p:spPr>
        <p:txBody>
          <a:bodyPr wrap="square" rtlCol="0">
            <a:spAutoFit/>
          </a:bodyPr>
          <a:lstStyle/>
          <a:p>
            <a:pPr algn="ctr"/>
            <a:r>
              <a:rPr lang="en-US" dirty="0"/>
              <a:t>Hospital Demographics</a:t>
            </a:r>
          </a:p>
        </p:txBody>
      </p:sp>
      <p:sp>
        <p:nvSpPr>
          <p:cNvPr id="12" name="TextBox 11"/>
          <p:cNvSpPr txBox="1"/>
          <p:nvPr/>
        </p:nvSpPr>
        <p:spPr>
          <a:xfrm>
            <a:off x="6524018" y="974388"/>
            <a:ext cx="1676400" cy="369332"/>
          </a:xfrm>
          <a:prstGeom prst="rect">
            <a:avLst/>
          </a:prstGeom>
          <a:noFill/>
          <a:ln>
            <a:solidFill>
              <a:schemeClr val="tx1"/>
            </a:solidFill>
          </a:ln>
        </p:spPr>
        <p:txBody>
          <a:bodyPr wrap="square" rtlCol="0">
            <a:spAutoFit/>
          </a:bodyPr>
          <a:lstStyle/>
          <a:p>
            <a:pPr algn="ctr"/>
            <a:r>
              <a:rPr lang="en-US" dirty="0"/>
              <a:t>PVB </a:t>
            </a:r>
          </a:p>
        </p:txBody>
      </p:sp>
      <p:sp>
        <p:nvSpPr>
          <p:cNvPr id="15" name="TextBox 14"/>
          <p:cNvSpPr txBox="1"/>
          <p:nvPr/>
        </p:nvSpPr>
        <p:spPr>
          <a:xfrm>
            <a:off x="9405071" y="974388"/>
            <a:ext cx="1676400" cy="369332"/>
          </a:xfrm>
          <a:prstGeom prst="rect">
            <a:avLst/>
          </a:prstGeom>
          <a:noFill/>
          <a:ln>
            <a:solidFill>
              <a:schemeClr val="tx1"/>
            </a:solidFill>
          </a:ln>
        </p:spPr>
        <p:txBody>
          <a:bodyPr wrap="square" rtlCol="0">
            <a:spAutoFit/>
          </a:bodyPr>
          <a:lstStyle/>
          <a:p>
            <a:pPr algn="ctr"/>
            <a:r>
              <a:rPr lang="en-US" dirty="0"/>
              <a:t>Birth Equity</a:t>
            </a:r>
          </a:p>
        </p:txBody>
      </p:sp>
      <p:sp>
        <p:nvSpPr>
          <p:cNvPr id="16" name="TextBox 15"/>
          <p:cNvSpPr txBox="1"/>
          <p:nvPr/>
        </p:nvSpPr>
        <p:spPr>
          <a:xfrm>
            <a:off x="6520912" y="1947265"/>
            <a:ext cx="1676400" cy="923330"/>
          </a:xfrm>
          <a:prstGeom prst="rect">
            <a:avLst/>
          </a:prstGeom>
          <a:noFill/>
          <a:ln>
            <a:solidFill>
              <a:schemeClr val="tx1"/>
            </a:solidFill>
          </a:ln>
        </p:spPr>
        <p:txBody>
          <a:bodyPr wrap="square" rtlCol="0">
            <a:spAutoFit/>
          </a:bodyPr>
          <a:lstStyle/>
          <a:p>
            <a:pPr algn="ctr"/>
            <a:r>
              <a:rPr lang="en-US" dirty="0"/>
              <a:t>PVB Success</a:t>
            </a:r>
          </a:p>
          <a:p>
            <a:pPr algn="ctr"/>
            <a:endParaRPr lang="en-US" dirty="0"/>
          </a:p>
          <a:p>
            <a:pPr algn="ctr"/>
            <a:r>
              <a:rPr lang="en-US" dirty="0"/>
              <a:t>Including Data</a:t>
            </a:r>
          </a:p>
        </p:txBody>
      </p:sp>
      <p:sp>
        <p:nvSpPr>
          <p:cNvPr id="17" name="TextBox 16"/>
          <p:cNvSpPr txBox="1"/>
          <p:nvPr/>
        </p:nvSpPr>
        <p:spPr>
          <a:xfrm>
            <a:off x="6524018" y="3343399"/>
            <a:ext cx="1676400" cy="923330"/>
          </a:xfrm>
          <a:prstGeom prst="rect">
            <a:avLst/>
          </a:prstGeom>
          <a:noFill/>
          <a:ln>
            <a:solidFill>
              <a:schemeClr val="tx1"/>
            </a:solidFill>
          </a:ln>
        </p:spPr>
        <p:txBody>
          <a:bodyPr wrap="square" rtlCol="0">
            <a:spAutoFit/>
          </a:bodyPr>
          <a:lstStyle/>
          <a:p>
            <a:pPr algn="ctr"/>
            <a:r>
              <a:rPr lang="en-US" dirty="0"/>
              <a:t>PVB Barriers and plans to address</a:t>
            </a:r>
          </a:p>
        </p:txBody>
      </p:sp>
      <p:sp>
        <p:nvSpPr>
          <p:cNvPr id="18" name="TextBox 17"/>
          <p:cNvSpPr txBox="1"/>
          <p:nvPr/>
        </p:nvSpPr>
        <p:spPr>
          <a:xfrm>
            <a:off x="6520912" y="4834580"/>
            <a:ext cx="1676400" cy="369332"/>
          </a:xfrm>
          <a:prstGeom prst="rect">
            <a:avLst/>
          </a:prstGeom>
          <a:noFill/>
          <a:ln>
            <a:solidFill>
              <a:schemeClr val="tx1"/>
            </a:solidFill>
          </a:ln>
        </p:spPr>
        <p:txBody>
          <a:bodyPr wrap="square" rtlCol="0">
            <a:spAutoFit/>
          </a:bodyPr>
          <a:lstStyle/>
          <a:p>
            <a:pPr algn="ctr"/>
            <a:r>
              <a:rPr lang="en-US" dirty="0"/>
              <a:t>PVB Next Steps</a:t>
            </a:r>
          </a:p>
        </p:txBody>
      </p:sp>
      <p:sp>
        <p:nvSpPr>
          <p:cNvPr id="21" name="TextBox 20"/>
          <p:cNvSpPr txBox="1"/>
          <p:nvPr/>
        </p:nvSpPr>
        <p:spPr>
          <a:xfrm>
            <a:off x="9405071" y="1947265"/>
            <a:ext cx="1828800" cy="923330"/>
          </a:xfrm>
          <a:prstGeom prst="rect">
            <a:avLst/>
          </a:prstGeom>
          <a:noFill/>
          <a:ln>
            <a:solidFill>
              <a:schemeClr val="tx1"/>
            </a:solidFill>
          </a:ln>
        </p:spPr>
        <p:txBody>
          <a:bodyPr wrap="square" rtlCol="0">
            <a:spAutoFit/>
          </a:bodyPr>
          <a:lstStyle/>
          <a:p>
            <a:pPr algn="ctr"/>
            <a:r>
              <a:rPr lang="en-US" dirty="0"/>
              <a:t>BE Success</a:t>
            </a:r>
          </a:p>
          <a:p>
            <a:pPr algn="ctr"/>
            <a:endParaRPr lang="en-US" dirty="0"/>
          </a:p>
          <a:p>
            <a:pPr algn="ctr"/>
            <a:r>
              <a:rPr lang="en-US" dirty="0"/>
              <a:t>Including Data</a:t>
            </a:r>
          </a:p>
        </p:txBody>
      </p:sp>
      <p:sp>
        <p:nvSpPr>
          <p:cNvPr id="23" name="TextBox 22"/>
          <p:cNvSpPr txBox="1"/>
          <p:nvPr/>
        </p:nvSpPr>
        <p:spPr>
          <a:xfrm>
            <a:off x="9481271" y="3490696"/>
            <a:ext cx="1676400" cy="923330"/>
          </a:xfrm>
          <a:prstGeom prst="rect">
            <a:avLst/>
          </a:prstGeom>
          <a:noFill/>
          <a:ln>
            <a:solidFill>
              <a:schemeClr val="tx1"/>
            </a:solidFill>
          </a:ln>
        </p:spPr>
        <p:txBody>
          <a:bodyPr wrap="square" rtlCol="0">
            <a:spAutoFit/>
          </a:bodyPr>
          <a:lstStyle/>
          <a:p>
            <a:pPr algn="ctr"/>
            <a:r>
              <a:rPr lang="en-US" dirty="0"/>
              <a:t>BE Barriers and plans to address</a:t>
            </a:r>
          </a:p>
        </p:txBody>
      </p:sp>
      <p:sp>
        <p:nvSpPr>
          <p:cNvPr id="24" name="TextBox 23"/>
          <p:cNvSpPr txBox="1"/>
          <p:nvPr/>
        </p:nvSpPr>
        <p:spPr>
          <a:xfrm>
            <a:off x="9481271" y="4834580"/>
            <a:ext cx="1676400" cy="369332"/>
          </a:xfrm>
          <a:prstGeom prst="rect">
            <a:avLst/>
          </a:prstGeom>
          <a:noFill/>
          <a:ln>
            <a:solidFill>
              <a:schemeClr val="tx1"/>
            </a:solidFill>
          </a:ln>
        </p:spPr>
        <p:txBody>
          <a:bodyPr wrap="square" rtlCol="0">
            <a:spAutoFit/>
          </a:bodyPr>
          <a:lstStyle/>
          <a:p>
            <a:pPr algn="ctr"/>
            <a:r>
              <a:rPr lang="en-US" dirty="0"/>
              <a:t>BE Next Steps</a:t>
            </a:r>
          </a:p>
        </p:txBody>
      </p:sp>
      <p:sp>
        <p:nvSpPr>
          <p:cNvPr id="25" name="Title 1">
            <a:extLst>
              <a:ext uri="{FF2B5EF4-FFF2-40B4-BE49-F238E27FC236}">
                <a16:creationId xmlns:a16="http://schemas.microsoft.com/office/drawing/2014/main" id="{4454D9D2-FD51-4B03-BD7A-F1350B0E301B}"/>
              </a:ext>
            </a:extLst>
          </p:cNvPr>
          <p:cNvSpPr txBox="1">
            <a:spLocks/>
          </p:cNvSpPr>
          <p:nvPr/>
        </p:nvSpPr>
        <p:spPr>
          <a:xfrm>
            <a:off x="188253" y="1083367"/>
            <a:ext cx="2744638" cy="1325563"/>
          </a:xfrm>
          <a:prstGeom prst="rect">
            <a:avLst/>
          </a:prstGeom>
        </p:spPr>
        <p:txBody>
          <a:bodyPr/>
          <a:lstStyle>
            <a:lvl1pPr algn="l" defTabSz="914400" rtl="0" eaLnBrk="1" latinLnBrk="0" hangingPunct="1">
              <a:lnSpc>
                <a:spcPct val="100000"/>
              </a:lnSpc>
              <a:spcBef>
                <a:spcPct val="0"/>
              </a:spcBef>
              <a:buNone/>
              <a:defRPr sz="3600" b="1" i="0" kern="1200">
                <a:solidFill>
                  <a:schemeClr val="accent1"/>
                </a:solidFill>
                <a:latin typeface="+mj-lt"/>
                <a:ea typeface="Lato Medium" panose="020F0502020204030203" pitchFamily="34" charset="0"/>
                <a:cs typeface="Lato Medium" panose="020F0502020204030203" pitchFamily="34" charset="0"/>
              </a:defRPr>
            </a:lvl1pPr>
          </a:lstStyle>
          <a:p>
            <a:pPr algn="ctr"/>
            <a:r>
              <a:rPr lang="en-US" dirty="0"/>
              <a:t>OB Team Story Board Template</a:t>
            </a:r>
          </a:p>
        </p:txBody>
      </p:sp>
    </p:spTree>
    <p:extLst>
      <p:ext uri="{BB962C8B-B14F-4D97-AF65-F5344CB8AC3E}">
        <p14:creationId xmlns:p14="http://schemas.microsoft.com/office/powerpoint/2010/main" val="41963825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2590800" y="1905000"/>
            <a:ext cx="3086100" cy="4114800"/>
          </a:xfr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29400" y="1905000"/>
            <a:ext cx="3086100" cy="4114800"/>
          </a:xfrm>
          <a:prstGeom prst="rect">
            <a:avLst/>
          </a:prstGeom>
        </p:spPr>
      </p:pic>
      <p:sp>
        <p:nvSpPr>
          <p:cNvPr id="6" name="TextBox 5"/>
          <p:cNvSpPr txBox="1"/>
          <p:nvPr/>
        </p:nvSpPr>
        <p:spPr>
          <a:xfrm>
            <a:off x="2514600" y="6172201"/>
            <a:ext cx="3162300" cy="646331"/>
          </a:xfrm>
          <a:prstGeom prst="rect">
            <a:avLst/>
          </a:prstGeom>
          <a:noFill/>
        </p:spPr>
        <p:txBody>
          <a:bodyPr wrap="square" rtlCol="0">
            <a:spAutoFit/>
          </a:bodyPr>
          <a:lstStyle/>
          <a:p>
            <a:r>
              <a:rPr lang="en-US" dirty="0"/>
              <a:t>With 4 portrait oriented sheets in the middle panel</a:t>
            </a:r>
          </a:p>
        </p:txBody>
      </p:sp>
      <p:sp>
        <p:nvSpPr>
          <p:cNvPr id="7" name="TextBox 6"/>
          <p:cNvSpPr txBox="1"/>
          <p:nvPr/>
        </p:nvSpPr>
        <p:spPr>
          <a:xfrm>
            <a:off x="6629400" y="6173274"/>
            <a:ext cx="3162300" cy="646331"/>
          </a:xfrm>
          <a:prstGeom prst="rect">
            <a:avLst/>
          </a:prstGeom>
          <a:noFill/>
        </p:spPr>
        <p:txBody>
          <a:bodyPr wrap="square" rtlCol="0">
            <a:spAutoFit/>
          </a:bodyPr>
          <a:lstStyle/>
          <a:p>
            <a:r>
              <a:rPr lang="en-US" dirty="0"/>
              <a:t>With 3 landscape oriented sheets in the middle panel</a:t>
            </a:r>
          </a:p>
        </p:txBody>
      </p:sp>
      <p:sp>
        <p:nvSpPr>
          <p:cNvPr id="9" name="Title 8">
            <a:extLst>
              <a:ext uri="{FF2B5EF4-FFF2-40B4-BE49-F238E27FC236}">
                <a16:creationId xmlns:a16="http://schemas.microsoft.com/office/drawing/2014/main" id="{26002446-155E-09F3-F0CD-EACC2605057B}"/>
              </a:ext>
            </a:extLst>
          </p:cNvPr>
          <p:cNvSpPr>
            <a:spLocks noGrp="1"/>
          </p:cNvSpPr>
          <p:nvPr>
            <p:ph type="title"/>
          </p:nvPr>
        </p:nvSpPr>
        <p:spPr/>
        <p:txBody>
          <a:bodyPr/>
          <a:lstStyle/>
          <a:p>
            <a:r>
              <a:rPr lang="en-US" dirty="0">
                <a:ea typeface="Lato Medium"/>
                <a:cs typeface="Calibri"/>
              </a:rPr>
              <a:t>Sample Layout</a:t>
            </a:r>
            <a:endParaRPr lang="en-US" b="0" dirty="0">
              <a:ea typeface="Lato Medium"/>
              <a:cs typeface="+mj-lt"/>
            </a:endParaRPr>
          </a:p>
          <a:p>
            <a:endParaRPr lang="en-US" dirty="0"/>
          </a:p>
        </p:txBody>
      </p:sp>
    </p:spTree>
    <p:extLst>
      <p:ext uri="{BB962C8B-B14F-4D97-AF65-F5344CB8AC3E}">
        <p14:creationId xmlns:p14="http://schemas.microsoft.com/office/powerpoint/2010/main" val="289626461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Promoting Vaginal Birth</a:t>
            </a:r>
          </a:p>
        </p:txBody>
      </p:sp>
      <p:sp>
        <p:nvSpPr>
          <p:cNvPr id="3" name="Subtitle 2"/>
          <p:cNvSpPr>
            <a:spLocks noGrp="1"/>
          </p:cNvSpPr>
          <p:nvPr>
            <p:ph type="subTitle" idx="1"/>
          </p:nvPr>
        </p:nvSpPr>
        <p:spPr/>
        <p:txBody>
          <a:bodyPr vert="horz" lIns="91440" tIns="45720" rIns="91440" bIns="45720" rtlCol="0" anchor="t">
            <a:noAutofit/>
          </a:bodyPr>
          <a:lstStyle/>
          <a:p>
            <a:r>
              <a:rPr lang="en-US">
                <a:ea typeface="+mn-lt"/>
                <a:cs typeface="+mn-lt"/>
              </a:rPr>
              <a:t>Moving from systems change to culture change to achieve success</a:t>
            </a:r>
          </a:p>
          <a:p>
            <a:endParaRPr lang="en-US"/>
          </a:p>
        </p:txBody>
      </p:sp>
    </p:spTree>
    <p:extLst>
      <p:ext uri="{BB962C8B-B14F-4D97-AF65-F5344CB8AC3E}">
        <p14:creationId xmlns:p14="http://schemas.microsoft.com/office/powerpoint/2010/main" val="39990405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A75296-75C7-0D8D-A55A-1DC9CB4363C9}"/>
              </a:ext>
            </a:extLst>
          </p:cNvPr>
          <p:cNvSpPr>
            <a:spLocks noGrp="1"/>
          </p:cNvSpPr>
          <p:nvPr>
            <p:ph type="title"/>
          </p:nvPr>
        </p:nvSpPr>
        <p:spPr/>
        <p:txBody>
          <a:bodyPr/>
          <a:lstStyle/>
          <a:p>
            <a:r>
              <a:rPr lang="en-US">
                <a:ea typeface="Lato Medium"/>
                <a:cs typeface="Lato Medium"/>
              </a:rPr>
              <a:t>PVB Aims and Measures</a:t>
            </a:r>
          </a:p>
        </p:txBody>
      </p:sp>
      <p:pic>
        <p:nvPicPr>
          <p:cNvPr id="6" name="Picture 6" descr="Text&#10;&#10;Description automatically generated">
            <a:extLst>
              <a:ext uri="{FF2B5EF4-FFF2-40B4-BE49-F238E27FC236}">
                <a16:creationId xmlns:a16="http://schemas.microsoft.com/office/drawing/2014/main" id="{9FEC9718-C4FC-6E22-3BA3-4F5F172CE966}"/>
              </a:ext>
            </a:extLst>
          </p:cNvPr>
          <p:cNvPicPr>
            <a:picLocks noGrp="1" noChangeAspect="1"/>
          </p:cNvPicPr>
          <p:nvPr>
            <p:ph idx="1"/>
          </p:nvPr>
        </p:nvPicPr>
        <p:blipFill>
          <a:blip r:embed="rId2" cstate="screen">
            <a:extLst>
              <a:ext uri="{28A0092B-C50C-407E-A947-70E740481C1C}">
                <a14:useLocalDpi xmlns:a14="http://schemas.microsoft.com/office/drawing/2010/main"/>
              </a:ext>
            </a:extLst>
          </a:blip>
          <a:stretch>
            <a:fillRect/>
          </a:stretch>
        </p:blipFill>
        <p:spPr>
          <a:xfrm>
            <a:off x="442852" y="1373592"/>
            <a:ext cx="5791481" cy="4790456"/>
          </a:xfrm>
        </p:spPr>
      </p:pic>
      <p:sp>
        <p:nvSpPr>
          <p:cNvPr id="4" name="Slide Number Placeholder 3">
            <a:extLst>
              <a:ext uri="{FF2B5EF4-FFF2-40B4-BE49-F238E27FC236}">
                <a16:creationId xmlns:a16="http://schemas.microsoft.com/office/drawing/2014/main" id="{520B98C6-E4CD-AF7D-5537-D58E10427CDD}"/>
              </a:ext>
            </a:extLst>
          </p:cNvPr>
          <p:cNvSpPr>
            <a:spLocks noGrp="1"/>
          </p:cNvSpPr>
          <p:nvPr>
            <p:ph type="sldNum" sz="quarter" idx="10"/>
          </p:nvPr>
        </p:nvSpPr>
        <p:spPr/>
        <p:txBody>
          <a:bodyPr/>
          <a:lstStyle/>
          <a:p>
            <a:fld id="{97033E4B-E3EB-3D46-B2D8-3159663620FA}" type="slidenum">
              <a:rPr lang="en-US" smtClean="0"/>
              <a:pPr/>
              <a:t>16</a:t>
            </a:fld>
            <a:endParaRPr lang="en-US"/>
          </a:p>
        </p:txBody>
      </p:sp>
      <p:sp>
        <p:nvSpPr>
          <p:cNvPr id="5" name="Footer Placeholder 4">
            <a:extLst>
              <a:ext uri="{FF2B5EF4-FFF2-40B4-BE49-F238E27FC236}">
                <a16:creationId xmlns:a16="http://schemas.microsoft.com/office/drawing/2014/main" id="{C36C5ABD-E822-2AD4-E94E-FDB5ABEE07DF}"/>
              </a:ext>
            </a:extLst>
          </p:cNvPr>
          <p:cNvSpPr>
            <a:spLocks noGrp="1"/>
          </p:cNvSpPr>
          <p:nvPr>
            <p:ph type="ftr" sz="quarter" idx="11"/>
          </p:nvPr>
        </p:nvSpPr>
        <p:spPr/>
        <p:txBody>
          <a:bodyPr/>
          <a:lstStyle/>
          <a:p>
            <a:pPr algn="l"/>
            <a:r>
              <a:rPr lang="en-US"/>
              <a:t>Illinois Perinatal Quality Collaborative</a:t>
            </a:r>
          </a:p>
        </p:txBody>
      </p:sp>
      <p:pic>
        <p:nvPicPr>
          <p:cNvPr id="7" name="Picture 7" descr="A picture containing indoor, person, wall&#10;&#10;Description automatically generated">
            <a:extLst>
              <a:ext uri="{FF2B5EF4-FFF2-40B4-BE49-F238E27FC236}">
                <a16:creationId xmlns:a16="http://schemas.microsoft.com/office/drawing/2014/main" id="{42215BC7-3219-E84D-DB8D-E2A39E18650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477411" y="2259244"/>
            <a:ext cx="4228454" cy="3169057"/>
          </a:xfrm>
          <a:prstGeom prst="rect">
            <a:avLst/>
          </a:prstGeom>
          <a:ln w="38100">
            <a:solidFill>
              <a:schemeClr val="accent3"/>
            </a:solid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363485892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23694" y="263785"/>
            <a:ext cx="4333754" cy="1325563"/>
          </a:xfrm>
        </p:spPr>
        <p:txBody>
          <a:bodyPr/>
          <a:lstStyle/>
          <a:p>
            <a:r>
              <a:rPr lang="en-US">
                <a:ea typeface="Lato Medium"/>
                <a:cs typeface="Lato Medium"/>
              </a:rPr>
              <a:t>PVB Key Strategies for Culture Change</a:t>
            </a:r>
            <a:endParaRPr lang="en-US"/>
          </a:p>
        </p:txBody>
      </p:sp>
      <p:pic>
        <p:nvPicPr>
          <p:cNvPr id="7" name="Picture 6"/>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004765" y="4398836"/>
            <a:ext cx="2029167" cy="1965266"/>
          </a:xfrm>
          <a:prstGeom prst="rect">
            <a:avLst/>
          </a:prstGeom>
        </p:spPr>
      </p:pic>
      <p:pic>
        <p:nvPicPr>
          <p:cNvPr id="8" name="Picture 7"/>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2895044" y="3921991"/>
            <a:ext cx="1920395" cy="1944279"/>
          </a:xfrm>
          <a:prstGeom prst="rect">
            <a:avLst/>
          </a:prstGeom>
        </p:spPr>
      </p:pic>
      <p:pic>
        <p:nvPicPr>
          <p:cNvPr id="9" name="Picture 8"/>
          <p:cNvPicPr>
            <a:picLocks noChangeAspect="1"/>
          </p:cNvPicPr>
          <p:nvPr/>
        </p:nvPicPr>
        <p:blipFill rotWithShape="1">
          <a:blip r:embed="rId5" cstate="screen">
            <a:extLst>
              <a:ext uri="{28A0092B-C50C-407E-A947-70E740481C1C}">
                <a14:useLocalDpi xmlns:a14="http://schemas.microsoft.com/office/drawing/2010/main"/>
              </a:ext>
            </a:extLst>
          </a:blip>
          <a:srcRect t="-639"/>
          <a:stretch/>
        </p:blipFill>
        <p:spPr>
          <a:xfrm>
            <a:off x="2697550" y="1754948"/>
            <a:ext cx="2315384" cy="1961955"/>
          </a:xfrm>
          <a:prstGeom prst="rect">
            <a:avLst/>
          </a:prstGeom>
          <a:ln w="57150">
            <a:noFill/>
          </a:ln>
        </p:spPr>
      </p:pic>
      <p:sp>
        <p:nvSpPr>
          <p:cNvPr id="3" name="Oval 2"/>
          <p:cNvSpPr/>
          <p:nvPr/>
        </p:nvSpPr>
        <p:spPr>
          <a:xfrm>
            <a:off x="7451931" y="2012554"/>
            <a:ext cx="1723121" cy="1676695"/>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Oval 10"/>
          <p:cNvSpPr/>
          <p:nvPr/>
        </p:nvSpPr>
        <p:spPr>
          <a:xfrm>
            <a:off x="7357253" y="4066454"/>
            <a:ext cx="1767107" cy="1753999"/>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p:cNvSpPr/>
          <p:nvPr/>
        </p:nvSpPr>
        <p:spPr>
          <a:xfrm>
            <a:off x="9094086" y="2510123"/>
            <a:ext cx="2787806" cy="553998"/>
          </a:xfrm>
          <a:prstGeom prst="rect">
            <a:avLst/>
          </a:prstGeom>
          <a:solidFill>
            <a:srgbClr val="E7EDF5"/>
          </a:solidFill>
          <a:ln w="57150">
            <a:noFill/>
          </a:ln>
        </p:spPr>
        <p:txBody>
          <a:bodyPr wrap="square" lIns="91440" tIns="45720" rIns="91440" bIns="45720" anchor="t">
            <a:spAutoFit/>
          </a:bodyPr>
          <a:lstStyle/>
          <a:p>
            <a:pPr marL="0" marR="0" lvl="0" indent="0" algn="ctr" defTabSz="914400" rtl="0" eaLnBrk="1" fontAlgn="base"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a:ln>
                  <a:noFill/>
                </a:ln>
                <a:solidFill>
                  <a:srgbClr val="1C498B"/>
                </a:solidFill>
                <a:effectLst/>
                <a:uLnTx/>
                <a:uFillTx/>
                <a:latin typeface="Bahnschrift"/>
              </a:rPr>
              <a:t>Sharing </a:t>
            </a:r>
            <a:r>
              <a:rPr kumimoji="0" lang="en-US" sz="1500" b="1" i="0" u="none" strike="noStrike" kern="1200" cap="none" spc="0" normalizeH="0" baseline="0" noProof="0" err="1">
                <a:ln>
                  <a:noFill/>
                </a:ln>
                <a:solidFill>
                  <a:srgbClr val="1C498B"/>
                </a:solidFill>
                <a:effectLst/>
                <a:uLnTx/>
                <a:uFillTx/>
                <a:latin typeface="Bahnschrift"/>
              </a:rPr>
              <a:t>Unblinded</a:t>
            </a:r>
            <a:r>
              <a:rPr kumimoji="0" lang="en-US" sz="1500" b="1" i="0" u="none" strike="noStrike" kern="1200" cap="none" spc="0" normalizeH="0" baseline="0" noProof="0">
                <a:ln>
                  <a:noFill/>
                </a:ln>
                <a:solidFill>
                  <a:srgbClr val="1C498B"/>
                </a:solidFill>
                <a:effectLst/>
                <a:uLnTx/>
                <a:uFillTx/>
                <a:latin typeface="Bahnschrift"/>
              </a:rPr>
              <a:t> Provider-level NTSV C-Section Rates </a:t>
            </a:r>
            <a:endParaRPr lang="en-US" sz="1500" b="1" i="0" u="none" strike="noStrike" kern="1200" cap="none" spc="0" normalizeH="0" baseline="0" noProof="0">
              <a:ln>
                <a:noFill/>
              </a:ln>
              <a:solidFill>
                <a:srgbClr val="1C498B"/>
              </a:solidFill>
              <a:effectLst/>
              <a:uLnTx/>
              <a:uFillTx/>
              <a:latin typeface="Bahnschrift"/>
            </a:endParaRPr>
          </a:p>
        </p:txBody>
      </p:sp>
      <p:sp>
        <p:nvSpPr>
          <p:cNvPr id="13" name="Rectangle 12"/>
          <p:cNvSpPr/>
          <p:nvPr/>
        </p:nvSpPr>
        <p:spPr>
          <a:xfrm>
            <a:off x="9071069" y="4643664"/>
            <a:ext cx="2790591"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rgbClr val="1C498B"/>
                </a:solidFill>
                <a:latin typeface="Bahnschrift"/>
              </a:rPr>
              <a:t>Fallout Reviews of cases not meeting ACOG/SMFM Criteria</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sp>
        <p:nvSpPr>
          <p:cNvPr id="16" name="Rectangle 15">
            <a:extLst>
              <a:ext uri="{FF2B5EF4-FFF2-40B4-BE49-F238E27FC236}">
                <a16:creationId xmlns:a16="http://schemas.microsoft.com/office/drawing/2014/main" id="{3E45003D-A7BF-28EC-9935-FAE78757481A}"/>
              </a:ext>
            </a:extLst>
          </p:cNvPr>
          <p:cNvSpPr/>
          <p:nvPr/>
        </p:nvSpPr>
        <p:spPr>
          <a:xfrm>
            <a:off x="843430" y="2419774"/>
            <a:ext cx="2168937" cy="553998"/>
          </a:xfrm>
          <a:prstGeom prst="rect">
            <a:avLst/>
          </a:prstGeom>
          <a:solidFill>
            <a:srgbClr val="E7EDF5"/>
          </a:solidFill>
          <a:ln w="57150">
            <a:noFill/>
          </a:ln>
        </p:spPr>
        <p:txBody>
          <a:bodyPr wrap="square" lIns="91440" tIns="45720" rIns="91440" bIns="45720" anchor="t">
            <a:spAutoFit/>
          </a:bodyPr>
          <a:lstStyle/>
          <a:p>
            <a:pPr algn="ctr" fontAlgn="base">
              <a:defRPr/>
            </a:pPr>
            <a:r>
              <a:rPr lang="en-US" sz="1500" b="1">
                <a:solidFill>
                  <a:schemeClr val="accent1"/>
                </a:solidFill>
                <a:latin typeface="Bahnschrift"/>
              </a:rPr>
              <a:t>Cesarean Decision Huddles and Checklist</a:t>
            </a:r>
            <a:r>
              <a:rPr lang="en-US" sz="1500" b="1">
                <a:solidFill>
                  <a:srgbClr val="000000"/>
                </a:solidFill>
                <a:latin typeface="Bahnschrift"/>
              </a:rPr>
              <a:t> </a:t>
            </a:r>
            <a:endParaRPr lang="en-US" sz="1500" b="1" i="0" u="none" strike="noStrike" kern="1200" cap="none" spc="0" normalizeH="0" baseline="0" noProof="0">
              <a:ln>
                <a:noFill/>
              </a:ln>
              <a:solidFill>
                <a:srgbClr val="000000"/>
              </a:solidFill>
              <a:effectLst/>
              <a:uLnTx/>
              <a:uFillTx/>
              <a:latin typeface="Bahnschrift" panose="020B0502040204020203" pitchFamily="34" charset="0"/>
            </a:endParaRPr>
          </a:p>
        </p:txBody>
      </p:sp>
      <p:sp>
        <p:nvSpPr>
          <p:cNvPr id="17" name="Rectangle 16">
            <a:extLst>
              <a:ext uri="{FF2B5EF4-FFF2-40B4-BE49-F238E27FC236}">
                <a16:creationId xmlns:a16="http://schemas.microsoft.com/office/drawing/2014/main" id="{68027AC8-5C2E-B75B-1AD9-79B56D8C44BF}"/>
              </a:ext>
            </a:extLst>
          </p:cNvPr>
          <p:cNvSpPr/>
          <p:nvPr/>
        </p:nvSpPr>
        <p:spPr>
          <a:xfrm>
            <a:off x="529778" y="4500612"/>
            <a:ext cx="2514504" cy="553998"/>
          </a:xfrm>
          <a:prstGeom prst="rect">
            <a:avLst/>
          </a:prstGeom>
          <a:solidFill>
            <a:srgbClr val="E7EDF5"/>
          </a:solidFill>
        </p:spPr>
        <p:txBody>
          <a:bodyPr wrap="square" lIns="91440" tIns="45720" rIns="91440" bIns="45720" anchor="t">
            <a:spAutoFit/>
          </a:bodyPr>
          <a:lstStyle/>
          <a:p>
            <a:pPr algn="ctr">
              <a:defRPr/>
            </a:pPr>
            <a:r>
              <a:rPr lang="en-US" sz="1500" b="1">
                <a:solidFill>
                  <a:srgbClr val="1C498B"/>
                </a:solidFill>
                <a:latin typeface="Bahnschrift"/>
                <a:ea typeface="+mn-lt"/>
                <a:cs typeface="+mn-lt"/>
              </a:rPr>
              <a:t>Educating patients and shared decision making </a:t>
            </a:r>
            <a:endParaRPr lang="en-US" b="1">
              <a:solidFill>
                <a:srgbClr val="1C498B"/>
              </a:solidFill>
              <a:latin typeface="Bahnschrift"/>
              <a:ea typeface="+mn-lt"/>
              <a:cs typeface="+mn-lt"/>
            </a:endParaRPr>
          </a:p>
        </p:txBody>
      </p:sp>
      <p:sp>
        <p:nvSpPr>
          <p:cNvPr id="18" name="Rectangle 17">
            <a:extLst>
              <a:ext uri="{FF2B5EF4-FFF2-40B4-BE49-F238E27FC236}">
                <a16:creationId xmlns:a16="http://schemas.microsoft.com/office/drawing/2014/main" id="{E9AA3DED-9774-6B82-9DAE-FF60D2DCEEBB}"/>
              </a:ext>
            </a:extLst>
          </p:cNvPr>
          <p:cNvSpPr/>
          <p:nvPr/>
        </p:nvSpPr>
        <p:spPr>
          <a:xfrm>
            <a:off x="5004765" y="6156224"/>
            <a:ext cx="1962331" cy="553998"/>
          </a:xfrm>
          <a:prstGeom prst="rect">
            <a:avLst/>
          </a:prstGeom>
          <a:solidFill>
            <a:srgbClr val="E7EDF5"/>
          </a:solidFill>
        </p:spPr>
        <p:txBody>
          <a:bodyPr wrap="square" lIns="91440" tIns="45720" rIns="91440" bIns="45720" anchor="t">
            <a:spAutoFit/>
          </a:bodyPr>
          <a:lstStyle/>
          <a:p>
            <a:pPr algn="ctr" fontAlgn="base">
              <a:defRPr/>
            </a:pPr>
            <a:r>
              <a:rPr lang="en-US" sz="1500" b="1">
                <a:solidFill>
                  <a:srgbClr val="1C498B"/>
                </a:solidFill>
                <a:latin typeface="Bahnschrift"/>
              </a:rPr>
              <a:t>Labor Management Support</a:t>
            </a:r>
            <a:endParaRPr lang="en-US" sz="1500" b="1" i="0" u="none" strike="noStrike" kern="1200" cap="none" spc="0" normalizeH="0" baseline="0" noProof="0">
              <a:ln>
                <a:noFill/>
              </a:ln>
              <a:solidFill>
                <a:srgbClr val="1C498B"/>
              </a:solidFill>
              <a:effectLst/>
              <a:uLnTx/>
              <a:uFillTx/>
              <a:latin typeface="Bahnschrift" panose="020B0502040204020203" pitchFamily="34" charset="0"/>
            </a:endParaRPr>
          </a:p>
        </p:txBody>
      </p:sp>
      <p:pic>
        <p:nvPicPr>
          <p:cNvPr id="19" name="Graphic 7" descr="Classroom with solid fill">
            <a:extLst>
              <a:ext uri="{FF2B5EF4-FFF2-40B4-BE49-F238E27FC236}">
                <a16:creationId xmlns:a16="http://schemas.microsoft.com/office/drawing/2014/main" id="{BB12F934-8763-8BB6-5877-059A90A7A5CD}"/>
              </a:ext>
            </a:extLst>
          </p:cNvPr>
          <p:cNvPicPr>
            <a:picLocks noGrp="1" noChangeAspect="1"/>
          </p:cNvPicPr>
          <p:nvPr>
            <p:ph idx="1"/>
          </p:nvPr>
        </p:nvPicPr>
        <p:blipFill>
          <a:blip r:embed="rId6" cstate="print">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295857" y="1306191"/>
            <a:ext cx="1505952" cy="1505952"/>
          </a:xfrm>
        </p:spPr>
      </p:pic>
      <p:sp>
        <p:nvSpPr>
          <p:cNvPr id="21" name="Oval 20"/>
          <p:cNvSpPr/>
          <p:nvPr/>
        </p:nvSpPr>
        <p:spPr>
          <a:xfrm>
            <a:off x="5132808" y="1239112"/>
            <a:ext cx="1838191" cy="1819208"/>
          </a:xfrm>
          <a:prstGeom prst="ellipse">
            <a:avLst/>
          </a:prstGeom>
          <a:solidFill>
            <a:srgbClr val="E7EDF5"/>
          </a:solidFill>
          <a:ln>
            <a:solidFill>
              <a:srgbClr val="E7EDF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4" name="Graphic 44" descr="Classroom with solid fill">
            <a:extLst>
              <a:ext uri="{FF2B5EF4-FFF2-40B4-BE49-F238E27FC236}">
                <a16:creationId xmlns:a16="http://schemas.microsoft.com/office/drawing/2014/main" id="{EFC3CF19-BDF1-C9B2-9D5C-DE5D55569557}"/>
              </a:ext>
            </a:extLst>
          </p:cNvPr>
          <p:cNvPicPr>
            <a:picLocks noChangeAspect="1"/>
          </p:cNvPicPr>
          <p:nvPr/>
        </p:nvPicPr>
        <p:blipFill>
          <a:blip r:embed="rId8">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99228" y="1167367"/>
            <a:ext cx="1934704" cy="1960534"/>
          </a:xfrm>
          <a:prstGeom prst="rect">
            <a:avLst/>
          </a:prstGeom>
        </p:spPr>
      </p:pic>
      <p:sp>
        <p:nvSpPr>
          <p:cNvPr id="25" name="Rectangle 24"/>
          <p:cNvSpPr/>
          <p:nvPr/>
        </p:nvSpPr>
        <p:spPr>
          <a:xfrm>
            <a:off x="4962243" y="749159"/>
            <a:ext cx="2395010" cy="553998"/>
          </a:xfrm>
          <a:prstGeom prst="rect">
            <a:avLst/>
          </a:prstGeom>
          <a:solidFill>
            <a:srgbClr val="E7EDF5"/>
          </a:solidFill>
          <a:ln w="57150">
            <a:noFill/>
          </a:ln>
        </p:spPr>
        <p:txBody>
          <a:bodyPr wrap="square" lIns="91440" tIns="45720" rIns="91440" bIns="45720" anchor="t">
            <a:spAutoFit/>
          </a:bodyPr>
          <a:lstStyle/>
          <a:p>
            <a:pPr lvl="0" algn="ctr" fontAlgn="base">
              <a:defRPr/>
            </a:pPr>
            <a:r>
              <a:rPr lang="en-US" sz="1500" b="1">
                <a:solidFill>
                  <a:schemeClr val="accent1"/>
                </a:solidFill>
                <a:latin typeface="Bahnschrift" panose="020B0502040204020203" pitchFamily="34" charset="0"/>
              </a:rPr>
              <a:t>Clinical Team Education and Buy-in</a:t>
            </a:r>
            <a:endParaRPr lang="en-US" sz="1500" b="1" i="0" u="none" strike="noStrike" kern="1200" cap="none" spc="0" normalizeH="0" baseline="0" noProof="0">
              <a:ln>
                <a:noFill/>
              </a:ln>
              <a:solidFill>
                <a:schemeClr val="accent1"/>
              </a:solidFill>
              <a:effectLst/>
              <a:uLnTx/>
              <a:uFillTx/>
              <a:latin typeface="Bahnschrift" panose="020B0502040204020203" pitchFamily="34" charset="0"/>
            </a:endParaRPr>
          </a:p>
        </p:txBody>
      </p:sp>
      <p:pic>
        <p:nvPicPr>
          <p:cNvPr id="4" name="Picture 4" descr="Icon&#10;&#10;Description automatically generated">
            <a:extLst>
              <a:ext uri="{FF2B5EF4-FFF2-40B4-BE49-F238E27FC236}">
                <a16:creationId xmlns:a16="http://schemas.microsoft.com/office/drawing/2014/main" id="{1F3ADF8D-8E47-FA28-CD15-968737052023}"/>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7375712" y="1931613"/>
            <a:ext cx="1866900" cy="1941420"/>
          </a:xfrm>
          <a:prstGeom prst="rect">
            <a:avLst/>
          </a:prstGeom>
        </p:spPr>
      </p:pic>
      <p:pic>
        <p:nvPicPr>
          <p:cNvPr id="5" name="Picture 5" descr="A picture containing text, monitor&#10;&#10;Description automatically generated">
            <a:extLst>
              <a:ext uri="{FF2B5EF4-FFF2-40B4-BE49-F238E27FC236}">
                <a16:creationId xmlns:a16="http://schemas.microsoft.com/office/drawing/2014/main" id="{E4528DDC-A601-C9A3-7943-B64E08FE0496}"/>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144870" y="3921849"/>
            <a:ext cx="2037230" cy="2006273"/>
          </a:xfrm>
          <a:prstGeom prst="rect">
            <a:avLst/>
          </a:prstGeom>
        </p:spPr>
      </p:pic>
    </p:spTree>
    <p:extLst>
      <p:ext uri="{BB962C8B-B14F-4D97-AF65-F5344CB8AC3E}">
        <p14:creationId xmlns:p14="http://schemas.microsoft.com/office/powerpoint/2010/main" val="64263975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8</a:t>
            </a:fld>
            <a:endParaRPr lang="en-US" altLang="en-US" sz="1200">
              <a:solidFill>
                <a:srgbClr val="898989"/>
              </a:solidFill>
              <a:latin typeface="Arial" charset="0"/>
              <a:ea typeface="MS PGothic" pitchFamily="34" charset="-128"/>
            </a:endParaRPr>
          </a:p>
        </p:txBody>
      </p:sp>
      <p:sp>
        <p:nvSpPr>
          <p:cNvPr id="3" name="Title 2"/>
          <p:cNvSpPr>
            <a:spLocks noGrp="1"/>
          </p:cNvSpPr>
          <p:nvPr>
            <p:ph type="title"/>
          </p:nvPr>
        </p:nvSpPr>
        <p:spPr/>
        <p:txBody>
          <a:bodyPr/>
          <a:lstStyle/>
          <a:p>
            <a:r>
              <a:rPr lang="en-US"/>
              <a:t>Provider and Nurse Education</a:t>
            </a:r>
          </a:p>
        </p:txBody>
      </p:sp>
      <p:graphicFrame>
        <p:nvGraphicFramePr>
          <p:cNvPr id="6" name="Chart 5"/>
          <p:cNvGraphicFramePr>
            <a:graphicFrameLocks/>
          </p:cNvGraphicFramePr>
          <p:nvPr>
            <p:extLst>
              <p:ext uri="{D42A27DB-BD31-4B8C-83A1-F6EECF244321}">
                <p14:modId xmlns:p14="http://schemas.microsoft.com/office/powerpoint/2010/main" val="3571571719"/>
              </p:ext>
            </p:extLst>
          </p:nvPr>
        </p:nvGraphicFramePr>
        <p:xfrm>
          <a:off x="609600" y="1516553"/>
          <a:ext cx="10890325" cy="472288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0701063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19</a:t>
            </a:fld>
            <a:endParaRPr lang="en-US" altLang="en-US" sz="1200">
              <a:solidFill>
                <a:srgbClr val="898989"/>
              </a:solidFill>
              <a:latin typeface="Arial" charset="0"/>
              <a:ea typeface="MS PGothic" pitchFamily="34" charset="-128"/>
            </a:endParaRPr>
          </a:p>
        </p:txBody>
      </p:sp>
      <p:sp>
        <p:nvSpPr>
          <p:cNvPr id="5" name="Title 2"/>
          <p:cNvSpPr txBox="1">
            <a:spLocks/>
          </p:cNvSpPr>
          <p:nvPr/>
        </p:nvSpPr>
        <p:spPr>
          <a:xfrm>
            <a:off x="609600" y="365125"/>
            <a:ext cx="109728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tandard Protocols and Processes</a:t>
            </a:r>
          </a:p>
        </p:txBody>
      </p:sp>
      <p:graphicFrame>
        <p:nvGraphicFramePr>
          <p:cNvPr id="6" name="Chart 5"/>
          <p:cNvGraphicFramePr>
            <a:graphicFrameLocks/>
          </p:cNvGraphicFramePr>
          <p:nvPr>
            <p:extLst>
              <p:ext uri="{D42A27DB-BD31-4B8C-83A1-F6EECF244321}">
                <p14:modId xmlns:p14="http://schemas.microsoft.com/office/powerpoint/2010/main" val="14781991"/>
              </p:ext>
            </p:extLst>
          </p:nvPr>
        </p:nvGraphicFramePr>
        <p:xfrm>
          <a:off x="609600" y="1513578"/>
          <a:ext cx="10804264" cy="484277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936722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Overview</a:t>
            </a:r>
          </a:p>
        </p:txBody>
      </p:sp>
      <p:sp>
        <p:nvSpPr>
          <p:cNvPr id="3" name="Content Placeholder 2"/>
          <p:cNvSpPr>
            <a:spLocks noGrp="1"/>
          </p:cNvSpPr>
          <p:nvPr>
            <p:ph idx="1"/>
          </p:nvPr>
        </p:nvSpPr>
        <p:spPr/>
        <p:txBody>
          <a:bodyPr/>
          <a:lstStyle/>
          <a:p>
            <a:r>
              <a:rPr lang="en-US" b="1" dirty="0"/>
              <a:t>12:30-12:55: </a:t>
            </a:r>
          </a:p>
          <a:p>
            <a:pPr lvl="1"/>
            <a:r>
              <a:rPr lang="en-US" sz="2400" dirty="0"/>
              <a:t>ILPQC Announcements for Face-to-Face 2023 Meeting</a:t>
            </a:r>
          </a:p>
          <a:p>
            <a:pPr lvl="1"/>
            <a:r>
              <a:rPr lang="en-US" sz="2400" dirty="0"/>
              <a:t>Review PVB Data</a:t>
            </a:r>
          </a:p>
          <a:p>
            <a:r>
              <a:rPr lang="en-US" b="1" dirty="0"/>
              <a:t>12:55-1:00: </a:t>
            </a:r>
          </a:p>
          <a:p>
            <a:pPr lvl="1"/>
            <a:r>
              <a:rPr lang="en-US" sz="2400" dirty="0"/>
              <a:t>Get into Breakout Rooms</a:t>
            </a:r>
          </a:p>
          <a:p>
            <a:r>
              <a:rPr lang="en-US" b="1" dirty="0"/>
              <a:t>1:00-1:30:</a:t>
            </a:r>
          </a:p>
          <a:p>
            <a:pPr lvl="1"/>
            <a:r>
              <a:rPr lang="en-US" sz="2400" dirty="0"/>
              <a:t>PVB Coaching Breakout Sessions</a:t>
            </a:r>
          </a:p>
          <a:p>
            <a:pPr lvl="1"/>
            <a:endParaRPr lang="en-US" dirty="0"/>
          </a:p>
          <a:p>
            <a:pPr marL="457200" lvl="1" indent="0">
              <a:buNone/>
            </a:pP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118580824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20</a:t>
            </a:fld>
            <a:endParaRPr lang="en-US" altLang="en-US" sz="1200">
              <a:solidFill>
                <a:srgbClr val="898989"/>
              </a:solidFill>
              <a:latin typeface="Arial" charset="0"/>
              <a:ea typeface="MS PGothic" pitchFamily="34" charset="-128"/>
            </a:endParaRPr>
          </a:p>
        </p:txBody>
      </p:sp>
      <p:sp>
        <p:nvSpPr>
          <p:cNvPr id="7" name="Title 2"/>
          <p:cNvSpPr txBox="1">
            <a:spLocks/>
          </p:cNvSpPr>
          <p:nvPr/>
        </p:nvSpPr>
        <p:spPr>
          <a:xfrm>
            <a:off x="762000" y="517525"/>
            <a:ext cx="10972800" cy="1325563"/>
          </a:xfrm>
          <a:prstGeom prst="rect">
            <a:avLst/>
          </a:prstGeom>
          <a:noFill/>
        </p:spPr>
        <p:txBody>
          <a:bodyPr vert="horz" lIns="91440" tIns="45720" rIns="91440" bIns="45720" rtlCol="0" anchor="ctr">
            <a:normAutofit/>
          </a:bodyPr>
          <a:lstStyle>
            <a:lvl1pPr algn="l" defTabSz="914400" rtl="0" eaLnBrk="1" latinLnBrk="0" hangingPunct="1">
              <a:lnSpc>
                <a:spcPct val="90000"/>
              </a:lnSpc>
              <a:spcBef>
                <a:spcPct val="0"/>
              </a:spcBef>
              <a:buNone/>
              <a:defRPr sz="3600" b="0" i="0" kern="1200">
                <a:solidFill>
                  <a:schemeClr val="tx1"/>
                </a:solidFill>
                <a:latin typeface="+mj-lt"/>
                <a:ea typeface="Lato Medium" panose="020F0502020204030203" pitchFamily="34" charset="0"/>
                <a:cs typeface="Lato Medium" panose="020F0502020204030203" pitchFamily="34" charset="0"/>
              </a:defRPr>
            </a:lvl1pPr>
          </a:lstStyle>
          <a:p>
            <a:r>
              <a:rPr lang="en-US" b="1">
                <a:solidFill>
                  <a:schemeClr val="accent1"/>
                </a:solidFill>
              </a:rPr>
              <a:t>Sharing Provider Level Data</a:t>
            </a:r>
          </a:p>
        </p:txBody>
      </p:sp>
      <p:graphicFrame>
        <p:nvGraphicFramePr>
          <p:cNvPr id="8" name="Chart 7"/>
          <p:cNvGraphicFramePr>
            <a:graphicFrameLocks/>
          </p:cNvGraphicFramePr>
          <p:nvPr>
            <p:extLst>
              <p:ext uri="{D42A27DB-BD31-4B8C-83A1-F6EECF244321}">
                <p14:modId xmlns:p14="http://schemas.microsoft.com/office/powerpoint/2010/main" val="2301314147"/>
              </p:ext>
            </p:extLst>
          </p:nvPr>
        </p:nvGraphicFramePr>
        <p:xfrm>
          <a:off x="593464" y="1595662"/>
          <a:ext cx="10988936" cy="476068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563303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21</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09600" y="82393"/>
            <a:ext cx="10972800" cy="1325563"/>
          </a:xfrm>
        </p:spPr>
        <p:txBody>
          <a:bodyPr>
            <a:normAutofit/>
          </a:bodyPr>
          <a:lstStyle/>
          <a:p>
            <a:r>
              <a:rPr lang="en-US"/>
              <a:t>Cesarean Decision Checklists </a:t>
            </a:r>
            <a:br>
              <a:rPr lang="en-US"/>
            </a:br>
            <a:r>
              <a:rPr lang="en-US"/>
              <a:t>and Decision Huddles/Debriefs</a:t>
            </a:r>
          </a:p>
        </p:txBody>
      </p:sp>
      <p:pic>
        <p:nvPicPr>
          <p:cNvPr id="9" name="Picture 8"/>
          <p:cNvPicPr>
            <a:picLocks noChangeAspect="1"/>
          </p:cNvPicPr>
          <p:nvPr/>
        </p:nvPicPr>
        <p:blipFill>
          <a:blip r:embed="rId3"/>
          <a:stretch>
            <a:fillRect/>
          </a:stretch>
        </p:blipFill>
        <p:spPr>
          <a:xfrm>
            <a:off x="698090" y="1213315"/>
            <a:ext cx="3891144" cy="310795"/>
          </a:xfrm>
          <a:prstGeom prst="rect">
            <a:avLst/>
          </a:prstGeom>
        </p:spPr>
      </p:pic>
      <p:sp>
        <p:nvSpPr>
          <p:cNvPr id="3" name="7-Point Star 1">
            <a:extLst>
              <a:ext uri="{FF2B5EF4-FFF2-40B4-BE49-F238E27FC236}">
                <a16:creationId xmlns:a16="http://schemas.microsoft.com/office/drawing/2014/main" id="{CE015E46-D665-582D-C428-C71DB440B073}"/>
              </a:ext>
            </a:extLst>
          </p:cNvPr>
          <p:cNvSpPr/>
          <p:nvPr/>
        </p:nvSpPr>
        <p:spPr>
          <a:xfrm>
            <a:off x="6818565" y="443289"/>
            <a:ext cx="1817511" cy="1147229"/>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algn="ctr"/>
            <a:r>
              <a:rPr lang="en-US"/>
              <a:t>Keep it up!</a:t>
            </a:r>
          </a:p>
        </p:txBody>
      </p:sp>
      <p:graphicFrame>
        <p:nvGraphicFramePr>
          <p:cNvPr id="8" name="Chart 7"/>
          <p:cNvGraphicFramePr>
            <a:graphicFrameLocks/>
          </p:cNvGraphicFramePr>
          <p:nvPr>
            <p:extLst>
              <p:ext uri="{D42A27DB-BD31-4B8C-83A1-F6EECF244321}">
                <p14:modId xmlns:p14="http://schemas.microsoft.com/office/powerpoint/2010/main" val="474849613"/>
              </p:ext>
            </p:extLst>
          </p:nvPr>
        </p:nvGraphicFramePr>
        <p:xfrm>
          <a:off x="134466" y="1590518"/>
          <a:ext cx="6008150" cy="4765832"/>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0" name="Chart 9"/>
          <p:cNvGraphicFramePr>
            <a:graphicFrameLocks/>
          </p:cNvGraphicFramePr>
          <p:nvPr>
            <p:extLst>
              <p:ext uri="{D42A27DB-BD31-4B8C-83A1-F6EECF244321}">
                <p14:modId xmlns:p14="http://schemas.microsoft.com/office/powerpoint/2010/main" val="1192639526"/>
              </p:ext>
            </p:extLst>
          </p:nvPr>
        </p:nvGraphicFramePr>
        <p:xfrm>
          <a:off x="6142616" y="1656925"/>
          <a:ext cx="5927464" cy="4699425"/>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382127449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algn="r" fontAlgn="base">
              <a:spcBef>
                <a:spcPct val="0"/>
              </a:spcBef>
              <a:spcAft>
                <a:spcPct val="0"/>
              </a:spcAft>
              <a:defRPr/>
            </a:pPr>
            <a:fld id="{ED3A795C-50BE-462B-8B70-BD2F9F6A8888}" type="slidenum">
              <a:rPr lang="en-US" altLang="en-US" sz="1200">
                <a:solidFill>
                  <a:srgbClr val="898989"/>
                </a:solidFill>
                <a:latin typeface="Arial" charset="0"/>
                <a:ea typeface="MS PGothic" pitchFamily="34" charset="-128"/>
              </a:rPr>
              <a:pPr algn="r" fontAlgn="base">
                <a:spcBef>
                  <a:spcPct val="0"/>
                </a:spcBef>
                <a:spcAft>
                  <a:spcPct val="0"/>
                </a:spcAft>
                <a:defRPr/>
              </a:pPr>
              <a:t>22</a:t>
            </a:fld>
            <a:endParaRPr lang="en-US" altLang="en-US" sz="1200">
              <a:solidFill>
                <a:srgbClr val="898989"/>
              </a:solidFill>
              <a:latin typeface="Arial" charset="0"/>
              <a:ea typeface="MS PGothic" pitchFamily="34" charset="-128"/>
            </a:endParaRPr>
          </a:p>
        </p:txBody>
      </p:sp>
      <p:sp>
        <p:nvSpPr>
          <p:cNvPr id="7" name="Title 2"/>
          <p:cNvSpPr>
            <a:spLocks noGrp="1"/>
          </p:cNvSpPr>
          <p:nvPr>
            <p:ph type="title"/>
          </p:nvPr>
        </p:nvSpPr>
        <p:spPr>
          <a:xfrm>
            <a:off x="698090" y="127201"/>
            <a:ext cx="6774273" cy="1325563"/>
          </a:xfrm>
        </p:spPr>
        <p:txBody>
          <a:bodyPr/>
          <a:lstStyle/>
          <a:p>
            <a:r>
              <a:rPr lang="en-US"/>
              <a:t>Shared Decision Making and Patient Education</a:t>
            </a:r>
          </a:p>
        </p:txBody>
      </p:sp>
      <p:pic>
        <p:nvPicPr>
          <p:cNvPr id="3" name="Picture 2"/>
          <p:cNvPicPr>
            <a:picLocks noChangeAspect="1"/>
          </p:cNvPicPr>
          <p:nvPr/>
        </p:nvPicPr>
        <p:blipFill>
          <a:blip r:embed="rId3"/>
          <a:stretch>
            <a:fillRect/>
          </a:stretch>
        </p:blipFill>
        <p:spPr>
          <a:xfrm>
            <a:off x="698090" y="1272863"/>
            <a:ext cx="3891144" cy="310795"/>
          </a:xfrm>
          <a:prstGeom prst="rect">
            <a:avLst/>
          </a:prstGeom>
        </p:spPr>
      </p:pic>
      <p:sp>
        <p:nvSpPr>
          <p:cNvPr id="5" name="7-Point Star 1">
            <a:extLst>
              <a:ext uri="{FF2B5EF4-FFF2-40B4-BE49-F238E27FC236}">
                <a16:creationId xmlns:a16="http://schemas.microsoft.com/office/drawing/2014/main" id="{6B154EAD-044D-5C85-482E-691614F81B9E}"/>
              </a:ext>
            </a:extLst>
          </p:cNvPr>
          <p:cNvSpPr/>
          <p:nvPr/>
        </p:nvSpPr>
        <p:spPr>
          <a:xfrm>
            <a:off x="5112713" y="631107"/>
            <a:ext cx="2076302" cy="1615182"/>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endParaRPr lang="en-US" sz="1500">
              <a:cs typeface="Calibri"/>
            </a:endParaRPr>
          </a:p>
          <a:p>
            <a:pPr algn="ctr"/>
            <a:r>
              <a:rPr lang="en-US" sz="1500">
                <a:cs typeface="Calibri"/>
              </a:rPr>
              <a:t>Progress with &amp; for Patients! </a:t>
            </a:r>
          </a:p>
        </p:txBody>
      </p:sp>
      <p:graphicFrame>
        <p:nvGraphicFramePr>
          <p:cNvPr id="8" name="Chart 7"/>
          <p:cNvGraphicFramePr>
            <a:graphicFrameLocks/>
          </p:cNvGraphicFramePr>
          <p:nvPr>
            <p:extLst>
              <p:ext uri="{D42A27DB-BD31-4B8C-83A1-F6EECF244321}">
                <p14:modId xmlns:p14="http://schemas.microsoft.com/office/powerpoint/2010/main" val="1784702096"/>
              </p:ext>
            </p:extLst>
          </p:nvPr>
        </p:nvGraphicFramePr>
        <p:xfrm>
          <a:off x="0" y="1647186"/>
          <a:ext cx="6164826" cy="470916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9" name="Chart 8"/>
          <p:cNvGraphicFramePr>
            <a:graphicFrameLocks/>
          </p:cNvGraphicFramePr>
          <p:nvPr>
            <p:extLst>
              <p:ext uri="{D42A27DB-BD31-4B8C-83A1-F6EECF244321}">
                <p14:modId xmlns:p14="http://schemas.microsoft.com/office/powerpoint/2010/main" val="611514056"/>
              </p:ext>
            </p:extLst>
          </p:nvPr>
        </p:nvGraphicFramePr>
        <p:xfrm>
          <a:off x="6164826" y="1617688"/>
          <a:ext cx="6027174" cy="4738661"/>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238134372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eams working on Key PVB SM</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6" name="Chart 5"/>
          <p:cNvGraphicFramePr>
            <a:graphicFrameLocks/>
          </p:cNvGraphicFramePr>
          <p:nvPr>
            <p:extLst>
              <p:ext uri="{D42A27DB-BD31-4B8C-83A1-F6EECF244321}">
                <p14:modId xmlns:p14="http://schemas.microsoft.com/office/powerpoint/2010/main" val="1767941284"/>
              </p:ext>
            </p:extLst>
          </p:nvPr>
        </p:nvGraphicFramePr>
        <p:xfrm>
          <a:off x="609599" y="1690688"/>
          <a:ext cx="11248103" cy="466566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77406628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hart 8"/>
          <p:cNvGraphicFramePr>
            <a:graphicFrameLocks/>
          </p:cNvGraphicFramePr>
          <p:nvPr>
            <p:extLst>
              <p:ext uri="{D42A27DB-BD31-4B8C-83A1-F6EECF244321}">
                <p14:modId xmlns:p14="http://schemas.microsoft.com/office/powerpoint/2010/main" val="488390028"/>
              </p:ext>
            </p:extLst>
          </p:nvPr>
        </p:nvGraphicFramePr>
        <p:xfrm>
          <a:off x="695756" y="1408828"/>
          <a:ext cx="10886643" cy="494752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le 1"/>
          <p:cNvSpPr>
            <a:spLocks noGrp="1"/>
          </p:cNvSpPr>
          <p:nvPr>
            <p:ph type="title"/>
          </p:nvPr>
        </p:nvSpPr>
        <p:spPr/>
        <p:txBody>
          <a:bodyPr/>
          <a:lstStyle/>
          <a:p>
            <a:r>
              <a:rPr lang="en-US"/>
              <a:t>NTSC C-Section Rate by Hospital</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4</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826CD5CF-CDC3-9FE2-F179-152EEED934A6}"/>
              </a:ext>
            </a:extLst>
          </p:cNvPr>
          <p:cNvSpPr txBox="1"/>
          <p:nvPr/>
        </p:nvSpPr>
        <p:spPr>
          <a:xfrm>
            <a:off x="1766087" y="3782697"/>
            <a:ext cx="1635481" cy="369332"/>
          </a:xfrm>
          <a:prstGeom prst="rect">
            <a:avLst/>
          </a:prstGeom>
          <a:solidFill>
            <a:schemeClr val="accent4"/>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cs typeface="Calibri"/>
              </a:rPr>
              <a:t>Goal: 23.6%</a:t>
            </a:r>
          </a:p>
        </p:txBody>
      </p:sp>
      <p:sp>
        <p:nvSpPr>
          <p:cNvPr id="8" name="7-Point Star 1">
            <a:extLst>
              <a:ext uri="{FF2B5EF4-FFF2-40B4-BE49-F238E27FC236}">
                <a16:creationId xmlns:a16="http://schemas.microsoft.com/office/drawing/2014/main" id="{EE9054AF-2AEF-40DD-A6DD-273E6BDDE7B6}"/>
              </a:ext>
            </a:extLst>
          </p:cNvPr>
          <p:cNvSpPr/>
          <p:nvPr/>
        </p:nvSpPr>
        <p:spPr>
          <a:xfrm>
            <a:off x="9640633" y="1438238"/>
            <a:ext cx="1961285" cy="1377267"/>
          </a:xfrm>
          <a:prstGeom prst="star7">
            <a:avLst/>
          </a:prstGeom>
        </p:spPr>
        <p:style>
          <a:lnRef idx="2">
            <a:schemeClr val="accent5">
              <a:shade val="50000"/>
            </a:schemeClr>
          </a:lnRef>
          <a:fillRef idx="1">
            <a:schemeClr val="accent5"/>
          </a:fillRef>
          <a:effectRef idx="0">
            <a:schemeClr val="accent5"/>
          </a:effectRef>
          <a:fontRef idx="minor">
            <a:schemeClr val="lt1"/>
          </a:fontRef>
        </p:style>
        <p:txBody>
          <a:bodyPr lIns="91440" tIns="45720" rIns="91440" bIns="45720" rtlCol="0" anchor="ctr"/>
          <a:lstStyle/>
          <a:p>
            <a:pPr algn="ctr"/>
            <a:r>
              <a:rPr lang="en-US"/>
              <a:t>Wow! Progress!</a:t>
            </a:r>
            <a:endParaRPr lang="en-US">
              <a:cs typeface="Calibri"/>
            </a:endParaRPr>
          </a:p>
        </p:txBody>
      </p:sp>
      <p:sp>
        <p:nvSpPr>
          <p:cNvPr id="10" name="TextBox 9">
            <a:extLst>
              <a:ext uri="{FF2B5EF4-FFF2-40B4-BE49-F238E27FC236}">
                <a16:creationId xmlns:a16="http://schemas.microsoft.com/office/drawing/2014/main" id="{826CD5CF-CDC3-9FE2-F179-152EEED934A6}"/>
              </a:ext>
            </a:extLst>
          </p:cNvPr>
          <p:cNvSpPr txBox="1"/>
          <p:nvPr/>
        </p:nvSpPr>
        <p:spPr>
          <a:xfrm>
            <a:off x="4339164" y="3382587"/>
            <a:ext cx="1884656" cy="400110"/>
          </a:xfrm>
          <a:prstGeom prst="rect">
            <a:avLst/>
          </a:prstGeom>
          <a:solidFill>
            <a:srgbClr val="7030A0"/>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000" dirty="0">
                <a:solidFill>
                  <a:schemeClr val="bg1"/>
                </a:solidFill>
                <a:cs typeface="Calibri"/>
              </a:rPr>
              <a:t>All ILPQC Rate:</a:t>
            </a:r>
          </a:p>
        </p:txBody>
      </p:sp>
    </p:spTree>
    <p:extLst>
      <p:ext uri="{BB962C8B-B14F-4D97-AF65-F5344CB8AC3E}">
        <p14:creationId xmlns:p14="http://schemas.microsoft.com/office/powerpoint/2010/main" val="72038284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Chart 12"/>
          <p:cNvGraphicFramePr>
            <a:graphicFrameLocks/>
          </p:cNvGraphicFramePr>
          <p:nvPr>
            <p:extLst>
              <p:ext uri="{D42A27DB-BD31-4B8C-83A1-F6EECF244321}">
                <p14:modId xmlns:p14="http://schemas.microsoft.com/office/powerpoint/2010/main" val="2256992034"/>
              </p:ext>
            </p:extLst>
          </p:nvPr>
        </p:nvGraphicFramePr>
        <p:xfrm>
          <a:off x="323767" y="1454102"/>
          <a:ext cx="8961283" cy="4902248"/>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485214" y="365125"/>
            <a:ext cx="7508240" cy="1325563"/>
          </a:xfrm>
          <a:noFill/>
        </p:spPr>
        <p:txBody>
          <a:bodyPr/>
          <a:lstStyle/>
          <a:p>
            <a:r>
              <a:rPr lang="en-US" dirty="0">
                <a:cs typeface="Arial"/>
              </a:rPr>
              <a:t>NTSV C-Section Rate PVB Hospitals baseline to Q3 2022</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5</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9" name="Down Arrow 8"/>
          <p:cNvSpPr/>
          <p:nvPr/>
        </p:nvSpPr>
        <p:spPr>
          <a:xfrm rot="3427887">
            <a:off x="9314363" y="3060711"/>
            <a:ext cx="577174" cy="1445689"/>
          </a:xfrm>
          <a:prstGeom prst="downArrow">
            <a:avLst/>
          </a:prstGeom>
          <a:solidFill>
            <a:srgbClr val="00B050"/>
          </a:solidFill>
          <a:ln>
            <a:solidFill>
              <a:srgbClr val="008A3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ounded Rectangle 5"/>
          <p:cNvSpPr/>
          <p:nvPr/>
        </p:nvSpPr>
        <p:spPr>
          <a:xfrm>
            <a:off x="9730902" y="2423663"/>
            <a:ext cx="2334639" cy="1293779"/>
          </a:xfrm>
          <a:prstGeom prst="roundRect">
            <a:avLst/>
          </a:prstGeom>
          <a:solidFill>
            <a:srgbClr val="00B050"/>
          </a:solidFill>
          <a:ln w="19050">
            <a:solidFill>
              <a:srgbClr val="008A3E"/>
            </a:solid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b="1" u="sng" dirty="0"/>
              <a:t>59%</a:t>
            </a:r>
            <a:r>
              <a:rPr lang="en-US" b="1" dirty="0"/>
              <a:t> </a:t>
            </a:r>
            <a:r>
              <a:rPr lang="en-US" dirty="0"/>
              <a:t>of ILPQC Hospitals achieving NTSV C-Section Rate goal of </a:t>
            </a:r>
            <a:r>
              <a:rPr lang="en-US" u="sng" dirty="0"/>
              <a:t>&lt; </a:t>
            </a:r>
            <a:r>
              <a:rPr lang="en-US" dirty="0"/>
              <a:t>23.6%</a:t>
            </a:r>
          </a:p>
        </p:txBody>
      </p:sp>
      <p:sp>
        <p:nvSpPr>
          <p:cNvPr id="10" name="Down Arrow 9"/>
          <p:cNvSpPr/>
          <p:nvPr/>
        </p:nvSpPr>
        <p:spPr>
          <a:xfrm rot="6409873">
            <a:off x="9556896" y="4412161"/>
            <a:ext cx="577174" cy="1445689"/>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Rounded Rectangle 10"/>
          <p:cNvSpPr/>
          <p:nvPr/>
        </p:nvSpPr>
        <p:spPr>
          <a:xfrm>
            <a:off x="9935182" y="4652408"/>
            <a:ext cx="1926077" cy="1237699"/>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r>
              <a:rPr lang="en-US"/>
              <a:t>Overall  ILPQC NTSV C-Section Rate Meeting Goal!!</a:t>
            </a:r>
          </a:p>
        </p:txBody>
      </p:sp>
      <p:cxnSp>
        <p:nvCxnSpPr>
          <p:cNvPr id="3" name="Straight Arrow Connector 2">
            <a:extLst>
              <a:ext uri="{FF2B5EF4-FFF2-40B4-BE49-F238E27FC236}">
                <a16:creationId xmlns:a16="http://schemas.microsoft.com/office/drawing/2014/main" id="{3803D9FD-A61E-DB79-50F5-B049D2BD0608}"/>
              </a:ext>
            </a:extLst>
          </p:cNvPr>
          <p:cNvCxnSpPr/>
          <p:nvPr/>
        </p:nvCxnSpPr>
        <p:spPr>
          <a:xfrm>
            <a:off x="1039529" y="3103377"/>
            <a:ext cx="8245521" cy="45491"/>
          </a:xfrm>
          <a:prstGeom prst="straightConnector1">
            <a:avLst/>
          </a:prstGeom>
          <a:ln w="28575">
            <a:prstDash val="dash"/>
          </a:ln>
        </p:spPr>
        <p:style>
          <a:lnRef idx="1">
            <a:schemeClr val="accent5"/>
          </a:lnRef>
          <a:fillRef idx="0">
            <a:schemeClr val="accent5"/>
          </a:fillRef>
          <a:effectRef idx="0">
            <a:schemeClr val="accent5"/>
          </a:effectRef>
          <a:fontRef idx="minor">
            <a:schemeClr val="tx1"/>
          </a:fontRef>
        </p:style>
      </p:cxnSp>
      <p:sp>
        <p:nvSpPr>
          <p:cNvPr id="8" name="TextBox 7">
            <a:extLst>
              <a:ext uri="{FF2B5EF4-FFF2-40B4-BE49-F238E27FC236}">
                <a16:creationId xmlns:a16="http://schemas.microsoft.com/office/drawing/2014/main" id="{826CD5CF-CDC3-9FE2-F179-152EEED934A6}"/>
              </a:ext>
            </a:extLst>
          </p:cNvPr>
          <p:cNvSpPr txBox="1"/>
          <p:nvPr/>
        </p:nvSpPr>
        <p:spPr>
          <a:xfrm>
            <a:off x="997991" y="2502537"/>
            <a:ext cx="3241343" cy="646331"/>
          </a:xfrm>
          <a:prstGeom prst="rect">
            <a:avLst/>
          </a:prstGeom>
          <a:solidFill>
            <a:schemeClr val="accent5"/>
          </a:solidFill>
          <a:ln>
            <a:solidFill>
              <a:schemeClr val="accent1"/>
            </a:solidFill>
          </a:ln>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dirty="0">
                <a:solidFill>
                  <a:schemeClr val="bg1"/>
                </a:solidFill>
                <a:cs typeface="Calibri"/>
              </a:rPr>
              <a:t>Goal: 70% of hospitals achieving NTSV C-Section Rate Goal</a:t>
            </a:r>
          </a:p>
        </p:txBody>
      </p:sp>
    </p:spTree>
    <p:extLst>
      <p:ext uri="{BB962C8B-B14F-4D97-AF65-F5344CB8AC3E}">
        <p14:creationId xmlns:p14="http://schemas.microsoft.com/office/powerpoint/2010/main" val="177896257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a:graphicFrameLocks/>
          </p:cNvGraphicFramePr>
          <p:nvPr>
            <p:extLst>
              <p:ext uri="{D42A27DB-BD31-4B8C-83A1-F6EECF244321}">
                <p14:modId xmlns:p14="http://schemas.microsoft.com/office/powerpoint/2010/main" val="1424830486"/>
              </p:ext>
            </p:extLst>
          </p:nvPr>
        </p:nvGraphicFramePr>
        <p:xfrm>
          <a:off x="367726" y="1554163"/>
          <a:ext cx="11214674" cy="5167312"/>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noFill/>
        </p:spPr>
        <p:txBody>
          <a:bodyPr/>
          <a:lstStyle/>
          <a:p>
            <a:r>
              <a:rPr lang="en-US">
                <a:ea typeface="Lato Medium"/>
                <a:cs typeface="Lato Medium"/>
              </a:rPr>
              <a:t>Addressing disparities:</a:t>
            </a:r>
            <a:br>
              <a:rPr lang="en-US">
                <a:ea typeface="Lato Medium"/>
                <a:cs typeface="Lato Medium"/>
              </a:rPr>
            </a:br>
            <a:r>
              <a:rPr lang="en-US" sz="3200" b="0">
                <a:ea typeface="Lato Medium"/>
                <a:cs typeface="Lato Medium"/>
              </a:rPr>
              <a:t>NTSV C-Section Rate by Race and Ethnicity </a:t>
            </a:r>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26</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11" name="Straight Arrow Connector 10">
            <a:extLst>
              <a:ext uri="{FF2B5EF4-FFF2-40B4-BE49-F238E27FC236}">
                <a16:creationId xmlns:a16="http://schemas.microsoft.com/office/drawing/2014/main" id="{C826F70D-8A0E-1AD6-9BDB-FE77DA801B71}"/>
              </a:ext>
            </a:extLst>
          </p:cNvPr>
          <p:cNvCxnSpPr/>
          <p:nvPr/>
        </p:nvCxnSpPr>
        <p:spPr>
          <a:xfrm>
            <a:off x="931271" y="3669283"/>
            <a:ext cx="10087583" cy="29183"/>
          </a:xfrm>
          <a:prstGeom prst="straightConnector1">
            <a:avLst/>
          </a:prstGeom>
          <a:ln w="28575">
            <a:prstDash val="dash"/>
          </a:ln>
        </p:spPr>
        <p:style>
          <a:lnRef idx="3">
            <a:schemeClr val="accent3"/>
          </a:lnRef>
          <a:fillRef idx="0">
            <a:schemeClr val="accent3"/>
          </a:fillRef>
          <a:effectRef idx="2">
            <a:schemeClr val="accent3"/>
          </a:effectRef>
          <a:fontRef idx="minor">
            <a:schemeClr val="tx1"/>
          </a:fontRef>
        </p:style>
      </p:cxnSp>
      <p:sp>
        <p:nvSpPr>
          <p:cNvPr id="12" name="Rectangle 11"/>
          <p:cNvSpPr/>
          <p:nvPr/>
        </p:nvSpPr>
        <p:spPr>
          <a:xfrm>
            <a:off x="2000655" y="3923903"/>
            <a:ext cx="1332689" cy="46579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dirty="0"/>
              <a:t>Goal: 23.6%</a:t>
            </a:r>
          </a:p>
        </p:txBody>
      </p:sp>
      <p:sp>
        <p:nvSpPr>
          <p:cNvPr id="6" name="Ribbon: Curved and Tilted Down 5">
            <a:extLst>
              <a:ext uri="{FF2B5EF4-FFF2-40B4-BE49-F238E27FC236}">
                <a16:creationId xmlns:a16="http://schemas.microsoft.com/office/drawing/2014/main" id="{163ACE99-54EE-7D3B-379B-C1B351A4CB1B}"/>
              </a:ext>
            </a:extLst>
          </p:cNvPr>
          <p:cNvSpPr/>
          <p:nvPr/>
        </p:nvSpPr>
        <p:spPr>
          <a:xfrm>
            <a:off x="8629317" y="2045164"/>
            <a:ext cx="3562683" cy="1029600"/>
          </a:xfrm>
          <a:prstGeom prst="ellipseRibbon">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gn="ctr"/>
            <a:r>
              <a:rPr lang="en-US" sz="1600">
                <a:cs typeface="Calibri"/>
              </a:rPr>
              <a:t>ILPQC Data System Reports Available!!! </a:t>
            </a:r>
          </a:p>
        </p:txBody>
      </p:sp>
    </p:spTree>
    <p:extLst>
      <p:ext uri="{BB962C8B-B14F-4D97-AF65-F5344CB8AC3E}">
        <p14:creationId xmlns:p14="http://schemas.microsoft.com/office/powerpoint/2010/main" val="3883765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Chart 6"/>
          <p:cNvGraphicFramePr>
            <a:graphicFrameLocks/>
          </p:cNvGraphicFramePr>
          <p:nvPr>
            <p:extLst>
              <p:ext uri="{D42A27DB-BD31-4B8C-83A1-F6EECF244321}">
                <p14:modId xmlns:p14="http://schemas.microsoft.com/office/powerpoint/2010/main" val="2859146574"/>
              </p:ext>
            </p:extLst>
          </p:nvPr>
        </p:nvGraphicFramePr>
        <p:xfrm>
          <a:off x="609600" y="1611965"/>
          <a:ext cx="10856976" cy="466996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609600" y="374853"/>
            <a:ext cx="10972800" cy="1325563"/>
          </a:xfrm>
          <a:noFill/>
        </p:spPr>
        <p:txBody>
          <a:bodyPr/>
          <a:lstStyle/>
          <a:p>
            <a:r>
              <a:rPr lang="en-US" dirty="0">
                <a:ea typeface="Lato Medium"/>
                <a:cs typeface="Lato Medium"/>
              </a:rPr>
              <a:t>Meeting ACOG/SMFM Criteria by </a:t>
            </a:r>
            <a:br>
              <a:rPr lang="en-US" dirty="0">
                <a:ea typeface="Lato Medium"/>
                <a:cs typeface="Lato Medium"/>
              </a:rPr>
            </a:br>
            <a:r>
              <a:rPr lang="en-US" dirty="0">
                <a:ea typeface="Lato Medium"/>
                <a:cs typeface="Lato Medium"/>
              </a:rPr>
              <a:t>stage of labor</a:t>
            </a:r>
          </a:p>
        </p:txBody>
      </p:sp>
      <p:sp>
        <p:nvSpPr>
          <p:cNvPr id="4" name="Slide Number Placeholder 3"/>
          <p:cNvSpPr>
            <a:spLocks noGrp="1"/>
          </p:cNvSpPr>
          <p:nvPr>
            <p:ph type="sldNum" sz="quarter" idx="10"/>
          </p:nvPr>
        </p:nvSpPr>
        <p:spPr/>
        <p:txBody>
          <a:bodyPr/>
          <a:lstStyle/>
          <a:p>
            <a:fld id="{97033E4B-E3EB-3D46-B2D8-3159663620FA}" type="slidenum">
              <a:rPr lang="en-US" smtClean="0"/>
              <a:pPr/>
              <a:t>2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cxnSp>
        <p:nvCxnSpPr>
          <p:cNvPr id="8" name="Straight Connector 7"/>
          <p:cNvCxnSpPr/>
          <p:nvPr/>
        </p:nvCxnSpPr>
        <p:spPr>
          <a:xfrm>
            <a:off x="1097280" y="3454237"/>
            <a:ext cx="9739333" cy="32156"/>
          </a:xfrm>
          <a:prstGeom prst="line">
            <a:avLst/>
          </a:prstGeom>
          <a:ln w="28575">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a:xfrm>
            <a:off x="5256929" y="2939306"/>
            <a:ext cx="1150070" cy="329938"/>
          </a:xfrm>
          <a:prstGeom prst="rect">
            <a:avLst/>
          </a:prstGeom>
          <a:solidFill>
            <a:schemeClr val="bg1">
              <a:lumMod val="50000"/>
            </a:scheme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Goal: 80%</a:t>
            </a:r>
          </a:p>
        </p:txBody>
      </p:sp>
    </p:spTree>
    <p:extLst>
      <p:ext uri="{BB962C8B-B14F-4D97-AF65-F5344CB8AC3E}">
        <p14:creationId xmlns:p14="http://schemas.microsoft.com/office/powerpoint/2010/main" val="323795891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ILPQC is here to help you </a:t>
            </a:r>
            <a:br>
              <a:rPr lang="en-US"/>
            </a:br>
            <a:r>
              <a:rPr lang="en-US"/>
              <a:t>get across the finish line!</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7033E4B-E3EB-3D46-B2D8-3159663620FA}" type="slidenum">
              <a:rPr kumimoji="0" lang="en-US" sz="1200" b="0" i="0" u="none" strike="noStrike" kern="1200" cap="none" spc="0" normalizeH="0" baseline="0" noProof="0" smtClean="0">
                <a:ln>
                  <a:noFill/>
                </a:ln>
                <a:solidFill>
                  <a:srgbClr val="79818A">
                    <a:lumMod val="60000"/>
                    <a:lumOff val="40000"/>
                  </a:srgb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srgbClr val="79818A">
                  <a:lumMod val="60000"/>
                  <a:lumOff val="40000"/>
                </a:srgbClr>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srgbClr val="444C55">
                    <a:tint val="75000"/>
                  </a:srgbClr>
                </a:solidFill>
                <a:effectLst/>
                <a:uLnTx/>
                <a:uFillTx/>
                <a:latin typeface="Calibri" panose="020F0502020204030204"/>
                <a:ea typeface="+mn-ea"/>
                <a:cs typeface="+mn-cs"/>
              </a:rPr>
              <a:t>Illinois Perinatal Quality Collaborative</a:t>
            </a:r>
          </a:p>
        </p:txBody>
      </p:sp>
      <p:graphicFrame>
        <p:nvGraphicFramePr>
          <p:cNvPr id="6" name="Diagram 5"/>
          <p:cNvGraphicFramePr/>
          <p:nvPr/>
        </p:nvGraphicFramePr>
        <p:xfrm>
          <a:off x="284814" y="1735823"/>
          <a:ext cx="7929796" cy="447010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ontent Placeholder 2"/>
          <p:cNvSpPr>
            <a:spLocks noGrp="1"/>
          </p:cNvSpPr>
          <p:nvPr>
            <p:ph idx="1"/>
          </p:nvPr>
        </p:nvSpPr>
        <p:spPr>
          <a:xfrm>
            <a:off x="8607048" y="1690688"/>
            <a:ext cx="3584952" cy="5538421"/>
          </a:xfrm>
        </p:spPr>
        <p:txBody>
          <a:bodyPr vert="horz" lIns="91440" tIns="45720" rIns="91440" bIns="45720" rtlCol="0" anchor="t">
            <a:noAutofit/>
          </a:bodyPr>
          <a:lstStyle/>
          <a:p>
            <a:r>
              <a:rPr lang="en-US">
                <a:ea typeface="Lato"/>
                <a:cs typeface="Lato"/>
              </a:rPr>
              <a:t>We are here to help!</a:t>
            </a:r>
          </a:p>
          <a:p>
            <a:r>
              <a:rPr lang="en-US">
                <a:ea typeface="Lato"/>
                <a:cs typeface="Lato"/>
              </a:rPr>
              <a:t>We are here to support!</a:t>
            </a:r>
          </a:p>
          <a:p>
            <a:r>
              <a:rPr lang="en-US">
                <a:ea typeface="Lato"/>
                <a:cs typeface="Lato"/>
              </a:rPr>
              <a:t>Schedule a </a:t>
            </a:r>
            <a:r>
              <a:rPr lang="en-US" b="1" u="sng">
                <a:ea typeface="Lato"/>
                <a:cs typeface="Lato"/>
              </a:rPr>
              <a:t>personalized QI Support Call</a:t>
            </a:r>
            <a:r>
              <a:rPr lang="en-US">
                <a:ea typeface="Lato"/>
                <a:cs typeface="Lato"/>
              </a:rPr>
              <a:t>, email </a:t>
            </a:r>
            <a:r>
              <a:rPr lang="en-US">
                <a:ea typeface="Lato"/>
                <a:cs typeface="Lato"/>
                <a:hlinkClick r:id="rId8"/>
              </a:rPr>
              <a:t>info@ilpqc.org</a:t>
            </a:r>
            <a:r>
              <a:rPr lang="en-US">
                <a:ea typeface="Lato"/>
                <a:cs typeface="Lato"/>
              </a:rPr>
              <a:t> to schedule a check-in call </a:t>
            </a:r>
          </a:p>
          <a:p>
            <a:r>
              <a:rPr lang="en-US">
                <a:ea typeface="Lato"/>
                <a:cs typeface="Lato"/>
              </a:rPr>
              <a:t>Check-in calls planned with </a:t>
            </a:r>
            <a:r>
              <a:rPr lang="en-US" u="sng">
                <a:ea typeface="Lato"/>
                <a:cs typeface="Lato"/>
              </a:rPr>
              <a:t>all teams not yet achieving key aims</a:t>
            </a:r>
            <a:r>
              <a:rPr lang="en-US">
                <a:ea typeface="Lato"/>
                <a:cs typeface="Lato"/>
              </a:rPr>
              <a:t>. </a:t>
            </a:r>
          </a:p>
          <a:p>
            <a:pPr marL="0" indent="0">
              <a:buNone/>
            </a:pPr>
            <a:endParaRPr lang="en-US">
              <a:ea typeface="Lato"/>
              <a:cs typeface="Lato"/>
            </a:endParaRPr>
          </a:p>
        </p:txBody>
      </p:sp>
    </p:spTree>
    <p:extLst>
      <p:ext uri="{BB962C8B-B14F-4D97-AF65-F5344CB8AC3E}">
        <p14:creationId xmlns:p14="http://schemas.microsoft.com/office/powerpoint/2010/main" val="3750573079"/>
      </p:ext>
    </p:extLst>
  </p:cSld>
  <p:clrMapOvr>
    <a:masterClrMapping/>
  </p:clrMapOvr>
  <p:extLst>
    <p:ext uri="{6950BFC3-D8DA-4A85-94F7-54DA5524770B}">
      <p188:commentRel xmlns:p188="http://schemas.microsoft.com/office/powerpoint/2018/8/main" xmlns="" r:id="rId9"/>
    </p:ext>
  </p:extLs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A65B7D-6357-F0A1-4ACA-818B5F3700C0}"/>
              </a:ext>
            </a:extLst>
          </p:cNvPr>
          <p:cNvSpPr>
            <a:spLocks noGrp="1"/>
          </p:cNvSpPr>
          <p:nvPr>
            <p:ph type="title"/>
          </p:nvPr>
        </p:nvSpPr>
        <p:spPr/>
        <p:txBody>
          <a:bodyPr/>
          <a:lstStyle/>
          <a:p>
            <a:r>
              <a:rPr lang="en-US">
                <a:ea typeface="Lato Medium"/>
                <a:cs typeface="Lato Medium"/>
              </a:rPr>
              <a:t>Upcoming Calls</a:t>
            </a:r>
            <a:endParaRPr lang="en-US"/>
          </a:p>
        </p:txBody>
      </p:sp>
      <p:graphicFrame>
        <p:nvGraphicFramePr>
          <p:cNvPr id="6" name="Table 6">
            <a:extLst>
              <a:ext uri="{FF2B5EF4-FFF2-40B4-BE49-F238E27FC236}">
                <a16:creationId xmlns:a16="http://schemas.microsoft.com/office/drawing/2014/main" id="{4A5DC85B-9F27-AF23-5D97-3D04C5A4E30D}"/>
              </a:ext>
            </a:extLst>
          </p:cNvPr>
          <p:cNvGraphicFramePr>
            <a:graphicFrameLocks noGrp="1"/>
          </p:cNvGraphicFramePr>
          <p:nvPr>
            <p:ph idx="1"/>
            <p:extLst>
              <p:ext uri="{D42A27DB-BD31-4B8C-83A1-F6EECF244321}">
                <p14:modId xmlns:p14="http://schemas.microsoft.com/office/powerpoint/2010/main" val="2418436892"/>
              </p:ext>
            </p:extLst>
          </p:nvPr>
        </p:nvGraphicFramePr>
        <p:xfrm>
          <a:off x="609600" y="1825625"/>
          <a:ext cx="10972800" cy="3530838"/>
        </p:xfrm>
        <a:graphic>
          <a:graphicData uri="http://schemas.openxmlformats.org/drawingml/2006/table">
            <a:tbl>
              <a:tblPr firstRow="1" bandRow="1">
                <a:tableStyleId>{5C22544A-7EE6-4342-B048-85BDC9FD1C3A}</a:tableStyleId>
              </a:tblPr>
              <a:tblGrid>
                <a:gridCol w="5486400">
                  <a:extLst>
                    <a:ext uri="{9D8B030D-6E8A-4147-A177-3AD203B41FA5}">
                      <a16:colId xmlns:a16="http://schemas.microsoft.com/office/drawing/2014/main" val="2818186165"/>
                    </a:ext>
                  </a:extLst>
                </a:gridCol>
                <a:gridCol w="5486400">
                  <a:extLst>
                    <a:ext uri="{9D8B030D-6E8A-4147-A177-3AD203B41FA5}">
                      <a16:colId xmlns:a16="http://schemas.microsoft.com/office/drawing/2014/main" val="1021936841"/>
                    </a:ext>
                  </a:extLst>
                </a:gridCol>
              </a:tblGrid>
              <a:tr h="861986">
                <a:tc>
                  <a:txBody>
                    <a:bodyPr/>
                    <a:lstStyle/>
                    <a:p>
                      <a:pPr algn="ctr"/>
                      <a:r>
                        <a:rPr lang="en-US" sz="2800" dirty="0"/>
                        <a:t>Date</a:t>
                      </a:r>
                    </a:p>
                  </a:txBody>
                  <a:tcPr anchor="ctr"/>
                </a:tc>
                <a:tc>
                  <a:txBody>
                    <a:bodyPr/>
                    <a:lstStyle/>
                    <a:p>
                      <a:pPr algn="ctr"/>
                      <a:r>
                        <a:rPr lang="en-US" sz="2800" dirty="0"/>
                        <a:t>Topic</a:t>
                      </a:r>
                    </a:p>
                  </a:txBody>
                  <a:tcPr anchor="ctr"/>
                </a:tc>
                <a:extLst>
                  <a:ext uri="{0D108BD9-81ED-4DB2-BD59-A6C34878D82A}">
                    <a16:rowId xmlns:a16="http://schemas.microsoft.com/office/drawing/2014/main" val="4266940731"/>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t>March 20</a:t>
                      </a:r>
                      <a:r>
                        <a:rPr lang="en-US" sz="2800" baseline="30000" dirty="0"/>
                        <a:t>th</a:t>
                      </a:r>
                      <a:r>
                        <a:rPr lang="en-US" sz="2800" dirty="0"/>
                        <a:t>, 2023, 12:30 PM</a:t>
                      </a:r>
                    </a:p>
                  </a:txBody>
                  <a:tcPr/>
                </a:tc>
                <a:tc>
                  <a:txBody>
                    <a:bodyPr/>
                    <a:lstStyle/>
                    <a:p>
                      <a:pPr algn="ctr"/>
                      <a:r>
                        <a:rPr lang="en-US" sz="2800" dirty="0"/>
                        <a:t>Reviewing</a:t>
                      </a:r>
                      <a:r>
                        <a:rPr lang="en-US" sz="2800" baseline="0" dirty="0"/>
                        <a:t> your PVB Data by Race and Ethnicity </a:t>
                      </a:r>
                      <a:endParaRPr lang="en-US" sz="2800" dirty="0"/>
                    </a:p>
                  </a:txBody>
                  <a:tcPr/>
                </a:tc>
                <a:extLst>
                  <a:ext uri="{0D108BD9-81ED-4DB2-BD59-A6C34878D82A}">
                    <a16:rowId xmlns:a16="http://schemas.microsoft.com/office/drawing/2014/main" val="2922447700"/>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t>April 24</a:t>
                      </a:r>
                      <a:r>
                        <a:rPr lang="en-US" sz="2800" baseline="30000" dirty="0"/>
                        <a:t>th</a:t>
                      </a:r>
                      <a:r>
                        <a:rPr lang="en-US" sz="2800" dirty="0"/>
                        <a:t>, 2023, 12:30 PM</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t>PVB</a:t>
                      </a:r>
                      <a:r>
                        <a:rPr lang="en-US" sz="2800" baseline="0" dirty="0"/>
                        <a:t> Monthly Webinar</a:t>
                      </a:r>
                      <a:endParaRPr lang="en-US" sz="2800" dirty="0"/>
                    </a:p>
                  </a:txBody>
                  <a:tcPr/>
                </a:tc>
                <a:extLst>
                  <a:ext uri="{0D108BD9-81ED-4DB2-BD59-A6C34878D82A}">
                    <a16:rowId xmlns:a16="http://schemas.microsoft.com/office/drawing/2014/main" val="1127378975"/>
                  </a:ext>
                </a:extLst>
              </a:tr>
              <a:tr h="86198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t>May 24</a:t>
                      </a:r>
                      <a:r>
                        <a:rPr lang="en-US" sz="2800" baseline="30000" dirty="0"/>
                        <a:t>th</a:t>
                      </a:r>
                      <a:r>
                        <a:rPr lang="en-US" sz="2800" dirty="0"/>
                        <a:t>, 2023</a:t>
                      </a: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dirty="0"/>
                        <a:t>Face-to-Face</a:t>
                      </a:r>
                      <a:r>
                        <a:rPr lang="en-US" sz="2800" baseline="0" dirty="0"/>
                        <a:t> Meeting</a:t>
                      </a:r>
                      <a:endParaRPr lang="en-US" sz="2800" dirty="0"/>
                    </a:p>
                  </a:txBody>
                  <a:tcPr/>
                </a:tc>
                <a:extLst>
                  <a:ext uri="{0D108BD9-81ED-4DB2-BD59-A6C34878D82A}">
                    <a16:rowId xmlns:a16="http://schemas.microsoft.com/office/drawing/2014/main" val="2385687586"/>
                  </a:ext>
                </a:extLst>
              </a:tr>
            </a:tbl>
          </a:graphicData>
        </a:graphic>
      </p:graphicFrame>
      <p:sp>
        <p:nvSpPr>
          <p:cNvPr id="4" name="Slide Number Placeholder 3">
            <a:extLst>
              <a:ext uri="{FF2B5EF4-FFF2-40B4-BE49-F238E27FC236}">
                <a16:creationId xmlns:a16="http://schemas.microsoft.com/office/drawing/2014/main" id="{0F30F806-6A99-606A-26F2-84CD6D8C7761}"/>
              </a:ext>
            </a:extLst>
          </p:cNvPr>
          <p:cNvSpPr>
            <a:spLocks noGrp="1"/>
          </p:cNvSpPr>
          <p:nvPr>
            <p:ph type="sldNum" sz="quarter" idx="10"/>
          </p:nvPr>
        </p:nvSpPr>
        <p:spPr/>
        <p:txBody>
          <a:bodyPr/>
          <a:lstStyle/>
          <a:p>
            <a:fld id="{97033E4B-E3EB-3D46-B2D8-3159663620FA}" type="slidenum">
              <a:rPr lang="en-US" smtClean="0"/>
              <a:pPr/>
              <a:t>29</a:t>
            </a:fld>
            <a:endParaRPr lang="en-US"/>
          </a:p>
        </p:txBody>
      </p:sp>
      <p:sp>
        <p:nvSpPr>
          <p:cNvPr id="5" name="Footer Placeholder 4">
            <a:extLst>
              <a:ext uri="{FF2B5EF4-FFF2-40B4-BE49-F238E27FC236}">
                <a16:creationId xmlns:a16="http://schemas.microsoft.com/office/drawing/2014/main" id="{752CDFB4-C6F9-9D52-9004-EA48D5902627}"/>
              </a:ext>
            </a:extLst>
          </p:cNvPr>
          <p:cNvSpPr>
            <a:spLocks noGrp="1"/>
          </p:cNvSpPr>
          <p:nvPr>
            <p:ph type="ftr" sz="quarter" idx="11"/>
          </p:nvPr>
        </p:nvSpPr>
        <p:spPr/>
        <p:txBody>
          <a:bodyPr/>
          <a:lstStyle/>
          <a:p>
            <a:pPr algn="l"/>
            <a:r>
              <a:rPr lang="en-US"/>
              <a:t>Illinois Perinatal Quality Collaborative</a:t>
            </a:r>
          </a:p>
        </p:txBody>
      </p:sp>
    </p:spTree>
    <p:extLst>
      <p:ext uri="{BB962C8B-B14F-4D97-AF65-F5344CB8AC3E}">
        <p14:creationId xmlns:p14="http://schemas.microsoft.com/office/powerpoint/2010/main" val="40045768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your Name to:</a:t>
            </a:r>
            <a:br>
              <a:rPr lang="en-US" dirty="0"/>
            </a:br>
            <a:r>
              <a:rPr lang="en-US" dirty="0"/>
              <a:t>First Name Last Name (Hospital)</a:t>
            </a:r>
          </a:p>
        </p:txBody>
      </p:sp>
      <p:sp>
        <p:nvSpPr>
          <p:cNvPr id="3" name="Content Placeholder 2"/>
          <p:cNvSpPr>
            <a:spLocks noGrp="1"/>
          </p:cNvSpPr>
          <p:nvPr>
            <p:ph idx="1"/>
          </p:nvPr>
        </p:nvSpPr>
        <p:spPr/>
        <p:txBody>
          <a:bodyPr vert="horz" lIns="91440" tIns="45720" rIns="91440" bIns="45720" rtlCol="0" anchor="t">
            <a:noAutofit/>
          </a:bodyPr>
          <a:lstStyle/>
          <a:p>
            <a:pPr marL="457200" indent="-457200">
              <a:buFont typeface="+mj-lt"/>
              <a:buAutoNum type="arabicPeriod"/>
            </a:pPr>
            <a:r>
              <a:rPr lang="en-US" dirty="0"/>
              <a:t>Hover over your name and click the 3 dots</a:t>
            </a:r>
          </a:p>
          <a:p>
            <a:pPr marL="457200" indent="-457200">
              <a:buFont typeface="+mj-lt"/>
              <a:buAutoNum type="arabicPeriod"/>
            </a:pPr>
            <a:endParaRPr lang="en-US" dirty="0"/>
          </a:p>
          <a:p>
            <a:pPr marL="457200" indent="-457200">
              <a:buFont typeface="+mj-lt"/>
              <a:buAutoNum type="arabicPeriod"/>
            </a:pPr>
            <a:endParaRPr lang="en-US" dirty="0"/>
          </a:p>
          <a:p>
            <a:pPr marL="457200" indent="-457200">
              <a:buFont typeface="+mj-lt"/>
              <a:buAutoNum type="arabicPeriod"/>
            </a:pPr>
            <a:r>
              <a:rPr lang="en-US" dirty="0"/>
              <a:t>Click Rename</a:t>
            </a:r>
          </a:p>
          <a:p>
            <a:pPr marL="0" indent="0">
              <a:buNone/>
            </a:pPr>
            <a:endParaRPr lang="en-US" dirty="0"/>
          </a:p>
          <a:p>
            <a:pPr marL="0" indent="0">
              <a:buNone/>
            </a:pPr>
            <a:endParaRPr lang="en-US" dirty="0"/>
          </a:p>
          <a:p>
            <a:pPr marL="457200" indent="-457200">
              <a:buFont typeface="+mj-lt"/>
              <a:buAutoNum type="arabicPeriod"/>
            </a:pPr>
            <a:r>
              <a:rPr lang="en-US" dirty="0">
                <a:ea typeface="Lato"/>
                <a:cs typeface="Lato"/>
              </a:rPr>
              <a:t>Rename yourself as: </a:t>
            </a:r>
            <a:r>
              <a:rPr lang="en-US" b="1" dirty="0">
                <a:ea typeface="Lato"/>
                <a:cs typeface="Lato"/>
              </a:rPr>
              <a:t>First Name Last Name (Hospital)</a:t>
            </a:r>
          </a:p>
          <a:p>
            <a:pPr marL="457200" indent="-4572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6981566" y="1646238"/>
            <a:ext cx="3715268" cy="1324160"/>
          </a:xfrm>
          <a:prstGeom prst="rect">
            <a:avLst/>
          </a:prstGeom>
          <a:ln w="38100">
            <a:solidFill>
              <a:srgbClr val="002060"/>
            </a:solidFill>
          </a:ln>
        </p:spPr>
      </p:pic>
      <p:pic>
        <p:nvPicPr>
          <p:cNvPr id="7" name="Picture 6"/>
          <p:cNvPicPr>
            <a:picLocks noChangeAspect="1"/>
          </p:cNvPicPr>
          <p:nvPr/>
        </p:nvPicPr>
        <p:blipFill rotWithShape="1">
          <a:blip r:embed="rId3"/>
          <a:srcRect r="4142" b="23405"/>
          <a:stretch/>
        </p:blipFill>
        <p:spPr>
          <a:xfrm>
            <a:off x="3210138" y="3348242"/>
            <a:ext cx="3771428" cy="1306103"/>
          </a:xfrm>
          <a:prstGeom prst="rect">
            <a:avLst/>
          </a:prstGeom>
          <a:ln w="38100">
            <a:solidFill>
              <a:schemeClr val="tx1"/>
            </a:solidFill>
          </a:ln>
        </p:spPr>
      </p:pic>
      <p:pic>
        <p:nvPicPr>
          <p:cNvPr id="8" name="Picture 7"/>
          <p:cNvPicPr>
            <a:picLocks noChangeAspect="1"/>
          </p:cNvPicPr>
          <p:nvPr/>
        </p:nvPicPr>
        <p:blipFill rotWithShape="1">
          <a:blip r:embed="rId4"/>
          <a:srcRect t="3095"/>
          <a:stretch/>
        </p:blipFill>
        <p:spPr>
          <a:xfrm>
            <a:off x="7929076" y="5107685"/>
            <a:ext cx="3753908" cy="1431227"/>
          </a:xfrm>
          <a:prstGeom prst="rect">
            <a:avLst/>
          </a:prstGeom>
          <a:ln w="38100">
            <a:solidFill>
              <a:srgbClr val="002060"/>
            </a:solidFill>
          </a:ln>
        </p:spPr>
      </p:pic>
    </p:spTree>
    <p:extLst>
      <p:ext uri="{BB962C8B-B14F-4D97-AF65-F5344CB8AC3E}">
        <p14:creationId xmlns:p14="http://schemas.microsoft.com/office/powerpoint/2010/main" val="87696762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PVB Breakout Sessions</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634849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nge your Name to:</a:t>
            </a:r>
            <a:br>
              <a:rPr lang="en-US" dirty="0"/>
            </a:br>
            <a:r>
              <a:rPr lang="en-US" dirty="0"/>
              <a:t>First Name Last Name (Hospital)</a:t>
            </a:r>
          </a:p>
        </p:txBody>
      </p:sp>
      <p:sp>
        <p:nvSpPr>
          <p:cNvPr id="3" name="Content Placeholder 2"/>
          <p:cNvSpPr>
            <a:spLocks noGrp="1"/>
          </p:cNvSpPr>
          <p:nvPr>
            <p:ph idx="1"/>
          </p:nvPr>
        </p:nvSpPr>
        <p:spPr/>
        <p:txBody>
          <a:bodyPr/>
          <a:lstStyle/>
          <a:p>
            <a:pPr marL="457200" indent="-457200">
              <a:buFont typeface="+mj-lt"/>
              <a:buAutoNum type="arabicPeriod"/>
            </a:pPr>
            <a:r>
              <a:rPr lang="en-US" dirty="0"/>
              <a:t>Hover over your name and click the 3 dots</a:t>
            </a:r>
          </a:p>
          <a:p>
            <a:pPr marL="457200" indent="-457200">
              <a:buFont typeface="+mj-lt"/>
              <a:buAutoNum type="arabicPeriod"/>
            </a:pPr>
            <a:endParaRPr lang="en-US" dirty="0"/>
          </a:p>
          <a:p>
            <a:pPr marL="457200" indent="-457200">
              <a:buFont typeface="+mj-lt"/>
              <a:buAutoNum type="arabicPeriod"/>
            </a:pPr>
            <a:endParaRPr lang="en-US" dirty="0"/>
          </a:p>
          <a:p>
            <a:pPr marL="457200" indent="-457200">
              <a:buFont typeface="+mj-lt"/>
              <a:buAutoNum type="arabicPeriod"/>
            </a:pPr>
            <a:r>
              <a:rPr lang="en-US" dirty="0"/>
              <a:t>Click Rename</a:t>
            </a:r>
          </a:p>
          <a:p>
            <a:pPr marL="0" indent="0">
              <a:buNone/>
            </a:pPr>
            <a:endParaRPr lang="en-US" dirty="0"/>
          </a:p>
          <a:p>
            <a:pPr marL="0" indent="0">
              <a:buNone/>
            </a:pPr>
            <a:endParaRPr lang="en-US" dirty="0"/>
          </a:p>
          <a:p>
            <a:pPr marL="457200" indent="-457200">
              <a:buFont typeface="+mj-lt"/>
              <a:buAutoNum type="arabicPeriod"/>
            </a:pPr>
            <a:r>
              <a:rPr lang="en-US" dirty="0"/>
              <a:t>Rename yourself as: First Name Last Name (Hospital)</a:t>
            </a:r>
          </a:p>
          <a:p>
            <a:pPr marL="457200" indent="-457200">
              <a:buFont typeface="+mj-lt"/>
              <a:buAutoNum type="arabicPeriod"/>
            </a:pPr>
            <a:endParaRPr lang="en-US" dirty="0"/>
          </a:p>
        </p:txBody>
      </p:sp>
      <p:sp>
        <p:nvSpPr>
          <p:cNvPr id="4" name="Slide Number Placeholder 3"/>
          <p:cNvSpPr>
            <a:spLocks noGrp="1"/>
          </p:cNvSpPr>
          <p:nvPr>
            <p:ph type="sldNum" sz="quarter" idx="10"/>
          </p:nvPr>
        </p:nvSpPr>
        <p:spPr/>
        <p:txBody>
          <a:bodyPr/>
          <a:lstStyle/>
          <a:p>
            <a:fld id="{97033E4B-E3EB-3D46-B2D8-3159663620FA}" type="slidenum">
              <a:rPr lang="en-US" smtClean="0"/>
              <a:pPr/>
              <a:t>31</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6" name="Picture 5"/>
          <p:cNvPicPr>
            <a:picLocks noChangeAspect="1"/>
          </p:cNvPicPr>
          <p:nvPr/>
        </p:nvPicPr>
        <p:blipFill>
          <a:blip r:embed="rId2"/>
          <a:stretch>
            <a:fillRect/>
          </a:stretch>
        </p:blipFill>
        <p:spPr>
          <a:xfrm>
            <a:off x="6981566" y="1646238"/>
            <a:ext cx="3715268" cy="1324160"/>
          </a:xfrm>
          <a:prstGeom prst="rect">
            <a:avLst/>
          </a:prstGeom>
          <a:ln w="38100">
            <a:solidFill>
              <a:srgbClr val="002060"/>
            </a:solidFill>
          </a:ln>
        </p:spPr>
      </p:pic>
      <p:pic>
        <p:nvPicPr>
          <p:cNvPr id="7" name="Picture 6"/>
          <p:cNvPicPr>
            <a:picLocks noChangeAspect="1"/>
          </p:cNvPicPr>
          <p:nvPr/>
        </p:nvPicPr>
        <p:blipFill rotWithShape="1">
          <a:blip r:embed="rId3"/>
          <a:srcRect r="4142" b="23405"/>
          <a:stretch/>
        </p:blipFill>
        <p:spPr>
          <a:xfrm>
            <a:off x="3210138" y="3348242"/>
            <a:ext cx="3771428" cy="1306103"/>
          </a:xfrm>
          <a:prstGeom prst="rect">
            <a:avLst/>
          </a:prstGeom>
          <a:ln w="38100">
            <a:solidFill>
              <a:schemeClr val="tx1"/>
            </a:solidFill>
          </a:ln>
        </p:spPr>
      </p:pic>
      <p:pic>
        <p:nvPicPr>
          <p:cNvPr id="8" name="Picture 7"/>
          <p:cNvPicPr>
            <a:picLocks noChangeAspect="1"/>
          </p:cNvPicPr>
          <p:nvPr/>
        </p:nvPicPr>
        <p:blipFill rotWithShape="1">
          <a:blip r:embed="rId4"/>
          <a:srcRect t="3095"/>
          <a:stretch/>
        </p:blipFill>
        <p:spPr>
          <a:xfrm>
            <a:off x="7929076" y="5107685"/>
            <a:ext cx="3753908" cy="1431227"/>
          </a:xfrm>
          <a:prstGeom prst="rect">
            <a:avLst/>
          </a:prstGeom>
          <a:ln w="38100">
            <a:solidFill>
              <a:srgbClr val="002060"/>
            </a:solidFill>
          </a:ln>
        </p:spPr>
      </p:pic>
    </p:spTree>
    <p:extLst>
      <p:ext uri="{BB962C8B-B14F-4D97-AF65-F5344CB8AC3E}">
        <p14:creationId xmlns:p14="http://schemas.microsoft.com/office/powerpoint/2010/main" val="201244024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1061" y="365124"/>
            <a:ext cx="8226287" cy="1325563"/>
          </a:xfrm>
        </p:spPr>
        <p:txBody>
          <a:bodyPr/>
          <a:lstStyle/>
          <a:p>
            <a:r>
              <a:rPr lang="en-US" dirty="0"/>
              <a:t>Small Group Breakouts:  </a:t>
            </a:r>
            <a:br>
              <a:rPr lang="en-US" dirty="0"/>
            </a:br>
            <a:r>
              <a:rPr lang="en-US" dirty="0"/>
              <a:t>all sharing, all learning, lots of discussion   </a:t>
            </a:r>
          </a:p>
        </p:txBody>
      </p:sp>
      <p:sp>
        <p:nvSpPr>
          <p:cNvPr id="4" name="Slide Number Placeholder 3"/>
          <p:cNvSpPr>
            <a:spLocks noGrp="1"/>
          </p:cNvSpPr>
          <p:nvPr>
            <p:ph type="sldNum" sz="quarter" idx="10"/>
          </p:nvPr>
        </p:nvSpPr>
        <p:spPr/>
        <p:txBody>
          <a:bodyPr/>
          <a:lstStyle/>
          <a:p>
            <a:fld id="{97033E4B-E3EB-3D46-B2D8-3159663620FA}" type="slidenum">
              <a:rPr lang="en-US" smtClean="0"/>
              <a:pPr/>
              <a:t>32</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graphicFrame>
        <p:nvGraphicFramePr>
          <p:cNvPr id="6" name="Diagram 5"/>
          <p:cNvGraphicFramePr/>
          <p:nvPr>
            <p:extLst>
              <p:ext uri="{D42A27DB-BD31-4B8C-83A1-F6EECF244321}">
                <p14:modId xmlns:p14="http://schemas.microsoft.com/office/powerpoint/2010/main" val="1275264627"/>
              </p:ext>
            </p:extLst>
          </p:nvPr>
        </p:nvGraphicFramePr>
        <p:xfrm>
          <a:off x="254000" y="1027906"/>
          <a:ext cx="10791952"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A893A986-AE6C-4CCF-AC27-E0B4902F62CF}"/>
              </a:ext>
            </a:extLst>
          </p:cNvPr>
          <p:cNvSpPr txBox="1"/>
          <p:nvPr/>
        </p:nvSpPr>
        <p:spPr>
          <a:xfrm>
            <a:off x="1555475" y="5414595"/>
            <a:ext cx="8458200" cy="954107"/>
          </a:xfrm>
          <a:prstGeom prst="rect">
            <a:avLst/>
          </a:prstGeom>
          <a:solidFill>
            <a:srgbClr val="92D050"/>
          </a:solidFill>
        </p:spPr>
        <p:txBody>
          <a:bodyPr wrap="square" rtlCol="0">
            <a:spAutoFit/>
          </a:bodyPr>
          <a:lstStyle/>
          <a:p>
            <a:pPr algn="ctr"/>
            <a:r>
              <a:rPr lang="en-US" sz="2800" dirty="0">
                <a:solidFill>
                  <a:schemeClr val="bg1"/>
                </a:solidFill>
              </a:rPr>
              <a:t>Discussion to follow: </a:t>
            </a:r>
          </a:p>
          <a:p>
            <a:pPr algn="ctr"/>
            <a:r>
              <a:rPr lang="en-US" sz="2800" dirty="0">
                <a:solidFill>
                  <a:schemeClr val="bg1"/>
                </a:solidFill>
              </a:rPr>
              <a:t>best strategies to address challenges and next steps</a:t>
            </a:r>
          </a:p>
        </p:txBody>
      </p:sp>
    </p:spTree>
    <p:extLst>
      <p:ext uri="{BB962C8B-B14F-4D97-AF65-F5344CB8AC3E}">
        <p14:creationId xmlns:p14="http://schemas.microsoft.com/office/powerpoint/2010/main" val="237450323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3"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FF9F46-075A-7D44-87A7-6A4A9F14E6A6}"/>
              </a:ext>
            </a:extLst>
          </p:cNvPr>
          <p:cNvSpPr>
            <a:spLocks noGrp="1"/>
          </p:cNvSpPr>
          <p:nvPr>
            <p:ph type="ctrTitle"/>
          </p:nvPr>
        </p:nvSpPr>
        <p:spPr>
          <a:xfrm>
            <a:off x="368401" y="493618"/>
            <a:ext cx="4613127" cy="2566692"/>
          </a:xfrm>
        </p:spPr>
        <p:txBody>
          <a:bodyPr>
            <a:normAutofit/>
          </a:bodyPr>
          <a:lstStyle/>
          <a:p>
            <a:pPr algn="ctr"/>
            <a:r>
              <a:rPr lang="en-US" sz="4800">
                <a:solidFill>
                  <a:schemeClr val="tx2">
                    <a:lumMod val="50000"/>
                  </a:schemeClr>
                </a:solidFill>
              </a:rPr>
              <a:t>Thanks to our Funders</a:t>
            </a:r>
          </a:p>
        </p:txBody>
      </p:sp>
      <p:sp>
        <p:nvSpPr>
          <p:cNvPr id="3" name="Subtitle 2">
            <a:extLst>
              <a:ext uri="{FF2B5EF4-FFF2-40B4-BE49-F238E27FC236}">
                <a16:creationId xmlns:a16="http://schemas.microsoft.com/office/drawing/2014/main" id="{43D19BCB-87EC-2242-A60F-BDD660F18F16}"/>
              </a:ext>
            </a:extLst>
          </p:cNvPr>
          <p:cNvSpPr>
            <a:spLocks noGrp="1"/>
          </p:cNvSpPr>
          <p:nvPr>
            <p:ph type="subTitle" idx="1"/>
          </p:nvPr>
        </p:nvSpPr>
        <p:spPr>
          <a:xfrm>
            <a:off x="153432" y="5248519"/>
            <a:ext cx="5194433" cy="986569"/>
          </a:xfrm>
        </p:spPr>
        <p:txBody>
          <a:bodyPr>
            <a:normAutofit/>
          </a:bodyPr>
          <a:lstStyle/>
          <a:p>
            <a:r>
              <a:rPr lang="en-US" sz="2800"/>
              <a:t>In kind support:</a:t>
            </a:r>
          </a:p>
        </p:txBody>
      </p:sp>
      <p:sp>
        <p:nvSpPr>
          <p:cNvPr id="5" name="Rectangle 4"/>
          <p:cNvSpPr/>
          <p:nvPr/>
        </p:nvSpPr>
        <p:spPr>
          <a:xfrm>
            <a:off x="5971607" y="3244334"/>
            <a:ext cx="248786" cy="369332"/>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srgbClr val="444C55"/>
                </a:solidFill>
                <a:effectLst/>
                <a:uLnTx/>
                <a:uFillTx/>
                <a:latin typeface="Arial" panose="020B0604020202020204"/>
                <a:ea typeface="+mn-ea"/>
                <a:cs typeface="+mn-cs"/>
              </a:rPr>
              <a:t> </a:t>
            </a:r>
          </a:p>
        </p:txBody>
      </p:sp>
      <p:pic>
        <p:nvPicPr>
          <p:cNvPr id="1026" name="Picture 2" descr="Laboratory of Neurogenomics and Novel Therapies Web Site – Research and  Patient Care at Northwestern"/>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2211492" y="5826682"/>
            <a:ext cx="1627118" cy="59637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File:US CDC logo.svg - Wikimedia Commons"/>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074461" y="4045643"/>
            <a:ext cx="1154729" cy="872007"/>
          </a:xfrm>
          <a:prstGeom prst="rect">
            <a:avLst/>
          </a:prstGeom>
          <a:noFill/>
          <a:extLst>
            <a:ext uri="{909E8E84-426E-40DD-AFC4-6F175D3DCCD1}">
              <a14:hiddenFill xmlns:a14="http://schemas.microsoft.com/office/drawing/2010/main">
                <a:solidFill>
                  <a:srgbClr val="FFFFFF"/>
                </a:solidFill>
              </a14:hiddenFill>
            </a:ext>
          </a:extLst>
        </p:spPr>
      </p:pic>
      <p:pic>
        <p:nvPicPr>
          <p:cNvPr id="1030" name="Picture 6" descr="https://cpcqc.org/wp-content/uploads/2021/03/aim.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1368647" y="4069152"/>
            <a:ext cx="1382001" cy="735252"/>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IDPH | Protecting health, improving lives."/>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73184" y="3246774"/>
            <a:ext cx="1698317" cy="469868"/>
          </a:xfrm>
          <a:prstGeom prst="rect">
            <a:avLst/>
          </a:prstGeom>
          <a:noFill/>
          <a:extLst>
            <a:ext uri="{909E8E84-426E-40DD-AFC4-6F175D3DCCD1}">
              <a14:hiddenFill xmlns:a14="http://schemas.microsoft.com/office/drawing/2010/main">
                <a:solidFill>
                  <a:srgbClr val="FFFFFF"/>
                </a:solidFill>
              </a14:hiddenFill>
            </a:ext>
          </a:extLst>
        </p:spPr>
      </p:pic>
      <p:pic>
        <p:nvPicPr>
          <p:cNvPr id="1036" name="Picture 12" descr="IDHS Logo"/>
          <p:cNvPicPr>
            <a:picLocks noChangeAspect="1" noChangeArrowheads="1"/>
          </p:cNvPicPr>
          <p:nvPr/>
        </p:nvPicPr>
        <p:blipFill>
          <a:blip r:embed="rId8" cstate="email">
            <a:extLst>
              <a:ext uri="{BEBA8EAE-BF5A-486C-A8C5-ECC9F3942E4B}">
                <a14:imgProps xmlns:a14="http://schemas.microsoft.com/office/drawing/2010/main">
                  <a14:imgLayer r:embed="rId9">
                    <a14:imgEffect>
                      <a14:backgroundRemoval t="3297" b="97253" l="200" r="100000">
                        <a14:foregroundMark x1="31000" y1="30220" x2="31000" y2="30220"/>
                        <a14:foregroundMark x1="55600" y1="60989" x2="55600" y2="60989"/>
                        <a14:foregroundMark x1="56000" y1="59890" x2="56000" y2="59890"/>
                        <a14:foregroundMark x1="56400" y1="57143" x2="56400" y2="57143"/>
                        <a14:foregroundMark x1="53200" y1="63736" x2="53200" y2="63736"/>
                        <a14:foregroundMark x1="52800" y1="67582" x2="52800" y2="67582"/>
                        <a14:foregroundMark x1="51200" y1="72527" x2="51200" y2="72527"/>
                        <a14:foregroundMark x1="54000" y1="71429" x2="54000" y2="71429"/>
                        <a14:foregroundMark x1="56800" y1="69780" x2="56800" y2="69780"/>
                        <a14:foregroundMark x1="58400" y1="75824" x2="58400" y2="75824"/>
                        <a14:foregroundMark x1="57000" y1="74725" x2="57000" y2="74725"/>
                        <a14:foregroundMark x1="55800" y1="53846" x2="55800" y2="53846"/>
                        <a14:foregroundMark x1="55400" y1="45604" x2="55400" y2="45604"/>
                        <a14:foregroundMark x1="61600" y1="39560" x2="61600" y2="39560"/>
                        <a14:foregroundMark x1="62000" y1="50000" x2="62000" y2="50000"/>
                        <a14:foregroundMark x1="60400" y1="57692" x2="60400" y2="57692"/>
                        <a14:foregroundMark x1="61600" y1="58242" x2="61600" y2="58242"/>
                        <a14:foregroundMark x1="61400" y1="67033" x2="61400" y2="67033"/>
                        <a14:foregroundMark x1="65800" y1="57143" x2="65800" y2="57143"/>
                        <a14:foregroundMark x1="19600" y1="86264" x2="19600" y2="86264"/>
                        <a14:foregroundMark x1="23400" y1="90659" x2="23400" y2="90659"/>
                        <a14:foregroundMark x1="25000" y1="95055" x2="25000" y2="95055"/>
                        <a14:foregroundMark x1="26400" y1="89011" x2="26400" y2="89011"/>
                        <a14:foregroundMark x1="25200" y1="89560" x2="25200" y2="89560"/>
                        <a14:foregroundMark x1="28200" y1="93407" x2="28200" y2="93407"/>
                        <a14:foregroundMark x1="29800" y1="87912" x2="29800" y2="87912"/>
                        <a14:foregroundMark x1="31200" y1="89560" x2="31200" y2="89560"/>
                        <a14:foregroundMark x1="29400" y1="93956" x2="29400" y2="93956"/>
                        <a14:foregroundMark x1="32800" y1="89560" x2="32800" y2="89560"/>
                        <a14:foregroundMark x1="37000" y1="89011" x2="37000" y2="89011"/>
                        <a14:foregroundMark x1="41600" y1="91758" x2="41600" y2="91758"/>
                        <a14:foregroundMark x1="42600" y1="95604" x2="42600" y2="95604"/>
                        <a14:foregroundMark x1="46800" y1="88462" x2="46800" y2="88462"/>
                        <a14:foregroundMark x1="48200" y1="87363" x2="48200" y2="87363"/>
                        <a14:foregroundMark x1="51800" y1="90110" x2="51800" y2="90110"/>
                        <a14:foregroundMark x1="55200" y1="88462" x2="55200" y2="88462"/>
                        <a14:foregroundMark x1="59400" y1="89560" x2="59400" y2="89560"/>
                        <a14:foregroundMark x1="62200" y1="90110" x2="62200" y2="90110"/>
                        <a14:foregroundMark x1="64000" y1="90110" x2="64000" y2="90110"/>
                        <a14:foregroundMark x1="65400" y1="90110" x2="65400" y2="90110"/>
                        <a14:foregroundMark x1="71800" y1="90659" x2="71800" y2="90659"/>
                        <a14:foregroundMark x1="73600" y1="89011" x2="73600" y2="89011"/>
                        <a14:foregroundMark x1="70400" y1="88462" x2="70400" y2="88462"/>
                        <a14:foregroundMark x1="43600" y1="94505" x2="43600" y2="94505"/>
                        <a14:foregroundMark x1="78800" y1="88462" x2="78800" y2="88462"/>
                        <a14:foregroundMark x1="66200" y1="62637" x2="66200" y2="62637"/>
                        <a14:foregroundMark x1="90200" y1="85165" x2="90200" y2="85165"/>
                        <a14:foregroundMark x1="90200" y1="89011" x2="90200" y2="89011"/>
                        <a14:foregroundMark x1="87800" y1="94505" x2="87800" y2="94505"/>
                        <a14:foregroundMark x1="84800" y1="88462" x2="84800" y2="88462"/>
                        <a14:foregroundMark x1="91800" y1="89011" x2="91800" y2="89011"/>
                        <a14:foregroundMark x1="91400" y1="90110" x2="91400" y2="90110"/>
                        <a14:foregroundMark x1="93200" y1="89011" x2="93200" y2="89011"/>
                        <a14:foregroundMark x1="93400" y1="95055" x2="93400" y2="95055"/>
                        <a14:foregroundMark x1="94600" y1="88462" x2="94600" y2="88462"/>
                        <a14:foregroundMark x1="96200" y1="94505" x2="96200" y2="94505"/>
                        <a14:foregroundMark x1="97600" y1="94505" x2="97600" y2="94505"/>
                        <a14:foregroundMark x1="68400" y1="87363" x2="68400" y2="87363"/>
                        <a14:foregroundMark x1="72000" y1="95604" x2="72000" y2="95604"/>
                        <a14:foregroundMark x1="70400" y1="94505" x2="70400" y2="94505"/>
                        <a14:foregroundMark x1="81800" y1="93956" x2="81800" y2="93956"/>
                        <a14:foregroundMark x1="82800" y1="96154" x2="82800" y2="96154"/>
                        <a14:foregroundMark x1="99400" y1="93407" x2="99400" y2="93407"/>
                        <a14:foregroundMark x1="97600" y1="90110" x2="97600" y2="90110"/>
                        <a14:foregroundMark x1="94800" y1="95055" x2="94800" y2="95055"/>
                        <a14:foregroundMark x1="96400" y1="89560" x2="96400" y2="89560"/>
                        <a14:foregroundMark x1="99000" y1="88462" x2="99000" y2="88462"/>
                        <a14:foregroundMark x1="97400" y1="87912" x2="97400" y2="87912"/>
                        <a14:foregroundMark x1="97200" y1="89011" x2="97200" y2="89011"/>
                        <a14:foregroundMark x1="97200" y1="90110" x2="97200" y2="90110"/>
                        <a14:foregroundMark x1="45200" y1="89560" x2="45200" y2="89560"/>
                        <a14:foregroundMark x1="53600" y1="89560" x2="53600" y2="89560"/>
                        <a14:foregroundMark x1="43600" y1="90110" x2="43600" y2="90110"/>
                        <a14:foregroundMark x1="43600" y1="87912" x2="43600" y2="87912"/>
                        <a14:foregroundMark x1="15000" y1="88462" x2="15000" y2="88462"/>
                        <a14:foregroundMark x1="15000" y1="94505" x2="15000" y2="94505"/>
                        <a14:foregroundMark x1="13600" y1="84066" x2="13600" y2="84066"/>
                        <a14:foregroundMark x1="13600" y1="90659" x2="13600" y2="90659"/>
                        <a14:foregroundMark x1="12400" y1="90110" x2="12400" y2="90110"/>
                        <a14:foregroundMark x1="800" y1="86813" x2="800" y2="86813"/>
                        <a14:foregroundMark x1="2400" y1="85714" x2="2400" y2="85714"/>
                        <a14:foregroundMark x1="4200" y1="85714" x2="4200" y2="85714"/>
                        <a14:foregroundMark x1="5600" y1="87912" x2="5600" y2="87912"/>
                        <a14:foregroundMark x1="7200" y1="88462" x2="7200" y2="88462"/>
                        <a14:foregroundMark x1="16800" y1="93407" x2="16800" y2="93407"/>
                        <a14:foregroundMark x1="16600" y1="88462" x2="16600" y2="88462"/>
                        <a14:foregroundMark x1="38800" y1="91209" x2="38800" y2="91209"/>
                        <a14:foregroundMark x1="40600" y1="90659" x2="40600" y2="90659"/>
                        <a14:foregroundMark x1="53600" y1="93407" x2="53600" y2="93407"/>
                        <a14:foregroundMark x1="35000" y1="92308" x2="35000" y2="92308"/>
                        <a14:foregroundMark x1="31400" y1="92857" x2="31400" y2="92857"/>
                        <a14:foregroundMark x1="24800" y1="87912" x2="24800" y2="87912"/>
                        <a14:foregroundMark x1="19800" y1="37912" x2="19800" y2="37912"/>
                        <a14:foregroundMark x1="19200" y1="34066" x2="19200" y2="34066"/>
                        <a14:foregroundMark x1="18800" y1="33516" x2="18800" y2="33516"/>
                        <a14:foregroundMark x1="20400" y1="35165" x2="20400" y2="35165"/>
                        <a14:foregroundMark x1="19400" y1="49451" x2="19400" y2="49451"/>
                        <a14:foregroundMark x1="3600" y1="21978" x2="3600" y2="21978"/>
                        <a14:foregroundMark x1="4400" y1="19780" x2="4400" y2="19780"/>
                        <a14:foregroundMark x1="4800" y1="19780" x2="4800" y2="19780"/>
                        <a14:foregroundMark x1="5600" y1="18681" x2="5600" y2="18681"/>
                        <a14:foregroundMark x1="5600" y1="18681" x2="5600" y2="18681"/>
                        <a14:foregroundMark x1="5800" y1="17033" x2="5800" y2="17033"/>
                        <a14:foregroundMark x1="6200" y1="14835" x2="6200" y2="14835"/>
                        <a14:foregroundMark x1="7000" y1="14286" x2="7000" y2="14286"/>
                        <a14:foregroundMark x1="8600" y1="13187" x2="8600" y2="13187"/>
                        <a14:foregroundMark x1="9800" y1="10989" x2="9800" y2="10989"/>
                        <a14:foregroundMark x1="11800" y1="8791" x2="12000" y2="8791"/>
                        <a14:foregroundMark x1="12000" y1="8791" x2="12000" y2="8791"/>
                        <a14:foregroundMark x1="13000" y1="7692" x2="13000" y2="7692"/>
                        <a14:foregroundMark x1="14000" y1="7143" x2="14000" y2="7143"/>
                        <a14:foregroundMark x1="15600" y1="6593" x2="15600" y2="6593"/>
                        <a14:foregroundMark x1="16400" y1="6593" x2="16400" y2="6593"/>
                        <a14:foregroundMark x1="17000" y1="6593" x2="17000" y2="6593"/>
                        <a14:foregroundMark x1="18200" y1="7692" x2="18200" y2="7692"/>
                        <a14:foregroundMark x1="18800" y1="8242" x2="18800" y2="8242"/>
                        <a14:foregroundMark x1="19600" y1="8791" x2="19800" y2="8791"/>
                        <a14:foregroundMark x1="21000" y1="10440" x2="21000" y2="10440"/>
                        <a14:foregroundMark x1="21200" y1="10989" x2="21200" y2="10989"/>
                        <a14:foregroundMark x1="21800" y1="12637" x2="21800" y2="12637"/>
                        <a14:foregroundMark x1="22400" y1="13187" x2="22400" y2="13187"/>
                        <a14:foregroundMark x1="22600" y1="15385" x2="22600" y2="15385"/>
                        <a14:foregroundMark x1="23800" y1="18681" x2="23800" y2="18681"/>
                        <a14:foregroundMark x1="24400" y1="20879" x2="24400" y2="20879"/>
                        <a14:foregroundMark x1="24600" y1="25824" x2="24600" y2="25824"/>
                        <a14:foregroundMark x1="24600" y1="30220" x2="24600" y2="30220"/>
                        <a14:foregroundMark x1="25600" y1="34066" x2="25600" y2="34066"/>
                        <a14:foregroundMark x1="25800" y1="36813" x2="25800" y2="37912"/>
                        <a14:foregroundMark x1="24800" y1="46154" x2="24800" y2="46154"/>
                        <a14:foregroundMark x1="25000" y1="51648" x2="25000" y2="51648"/>
                        <a14:foregroundMark x1="24600" y1="55495" x2="24600" y2="55495"/>
                        <a14:foregroundMark x1="26000" y1="54945" x2="26000" y2="54945"/>
                        <a14:foregroundMark x1="22200" y1="58242" x2="22200" y2="58242"/>
                        <a14:foregroundMark x1="19200" y1="58791" x2="19200" y2="58791"/>
                        <a14:foregroundMark x1="15400" y1="60989" x2="15400" y2="60989"/>
                        <a14:foregroundMark x1="8600" y1="52747" x2="8600" y2="52747"/>
                        <a14:foregroundMark x1="6400" y1="32967" x2="6400" y2="32967"/>
                        <a14:foregroundMark x1="8200" y1="27473" x2="8200" y2="27473"/>
                        <a14:foregroundMark x1="11600" y1="32418" x2="11600" y2="32418"/>
                        <a14:foregroundMark x1="11400" y1="29670" x2="11400" y2="29670"/>
                        <a14:foregroundMark x1="8200" y1="39560" x2="8200" y2="39560"/>
                        <a14:foregroundMark x1="3800" y1="42308" x2="3800" y2="42308"/>
                        <a14:foregroundMark x1="1800" y1="58791" x2="1800" y2="58791"/>
                        <a14:foregroundMark x1="3600" y1="63187" x2="3800" y2="63736"/>
                        <a14:foregroundMark x1="5000" y1="65934" x2="5000" y2="65934"/>
                        <a14:foregroundMark x1="23400" y1="15934" x2="23400" y2="15934"/>
                        <a14:foregroundMark x1="25600" y1="24725" x2="25600" y2="24725"/>
                        <a14:foregroundMark x1="63600" y1="62637" x2="63600" y2="62637"/>
                        <a14:foregroundMark x1="63400" y1="69780" x2="63400" y2="69780"/>
                        <a14:foregroundMark x1="60600" y1="89560" x2="60600" y2="89560"/>
                        <a14:foregroundMark x1="19800" y1="95055" x2="19800" y2="95055"/>
                        <a14:foregroundMark x1="31600" y1="95604" x2="31600" y2="95604"/>
                        <a14:foregroundMark x1="10600" y1="89011" x2="10600" y2="89011"/>
                        <a14:foregroundMark x1="9200" y1="94505" x2="9200" y2="94505"/>
                        <a14:foregroundMark x1="5600" y1="84615" x2="5600" y2="84615"/>
                        <a14:foregroundMark x1="4000" y1="94505" x2="4000" y2="94505"/>
                        <a14:foregroundMark x1="22000" y1="91209" x2="22000" y2="91209"/>
                        <a14:foregroundMark x1="10200" y1="92857" x2="10200" y2="92857"/>
                        <a14:foregroundMark x1="10600" y1="94505" x2="10600" y2="94505"/>
                        <a14:foregroundMark x1="80200" y1="86264" x2="80200" y2="86264"/>
                        <a14:foregroundMark x1="80400" y1="92308" x2="80400" y2="92308"/>
                        <a14:foregroundMark x1="79400" y1="96154" x2="79400" y2="96154"/>
                        <a14:foregroundMark x1="75600" y1="91209" x2="75600" y2="91209"/>
                        <a14:foregroundMark x1="86600" y1="89011" x2="86600" y2="89011"/>
                        <a14:foregroundMark x1="89000" y1="88462" x2="89000" y2="88462"/>
                        <a14:foregroundMark x1="83600" y1="89560" x2="83600" y2="89560"/>
                        <a14:foregroundMark x1="95800" y1="87363" x2="95800" y2="87363"/>
                        <a14:foregroundMark x1="83600" y1="94505" x2="83600" y2="94505"/>
                        <a14:foregroundMark x1="30000" y1="92308" x2="30000" y2="92308"/>
                        <a14:backgroundMark x1="24400" y1="89560" x2="24400" y2="89560"/>
                        <a14:backgroundMark x1="27600" y1="91758" x2="27600" y2="91758"/>
                        <a14:backgroundMark x1="30400" y1="93407" x2="30400" y2="93407"/>
                        <a14:backgroundMark x1="30400" y1="90110" x2="30400" y2="90110"/>
                        <a14:backgroundMark x1="36200" y1="91209" x2="36200" y2="91209"/>
                        <a14:backgroundMark x1="41200" y1="90659" x2="41200" y2="90659"/>
                        <a14:backgroundMark x1="42800" y1="93407" x2="42800" y2="93407"/>
                        <a14:backgroundMark x1="43000" y1="89560" x2="43000" y2="89560"/>
                        <a14:backgroundMark x1="52800" y1="91209" x2="52800" y2="91209"/>
                        <a14:backgroundMark x1="71200" y1="93407" x2="71200" y2="93407"/>
                        <a14:backgroundMark x1="71200" y1="89560" x2="71200" y2="89560"/>
                        <a14:backgroundMark x1="79400" y1="87363" x2="79400" y2="87363"/>
                        <a14:backgroundMark x1="82400" y1="89011" x2="82400" y2="89011"/>
                        <a14:backgroundMark x1="90200" y1="86813" x2="90200" y2="86813"/>
                        <a14:backgroundMark x1="94000" y1="94505" x2="94000" y2="94505"/>
                        <a14:backgroundMark x1="93600" y1="96154" x2="93600" y2="96154"/>
                        <a14:backgroundMark x1="98400" y1="93956" x2="98400" y2="93956"/>
                        <a14:backgroundMark x1="95600" y1="89560" x2="95600" y2="89560"/>
                        <a14:backgroundMark x1="95200" y1="93407" x2="95200" y2="93407"/>
                        <a14:backgroundMark x1="97000" y1="89560" x2="97000" y2="89560"/>
                        <a14:backgroundMark x1="98400" y1="89560" x2="98400" y2="89560"/>
                        <a14:backgroundMark x1="21000" y1="90659" x2="21000" y2="90659"/>
                        <a14:backgroundMark x1="11000" y1="92308" x2="11000" y2="92308"/>
                        <a14:backgroundMark x1="16000" y1="89011" x2="16000" y2="89011"/>
                        <a14:backgroundMark x1="9800" y1="91209" x2="9800" y2="91209"/>
                        <a14:backgroundMark x1="82600" y1="93956" x2="82600" y2="93956"/>
                      </a14:backgroundRemoval>
                    </a14:imgEffect>
                  </a14:imgLayer>
                </a14:imgProps>
              </a:ext>
              <a:ext uri="{28A0092B-C50C-407E-A947-70E740481C1C}">
                <a14:useLocalDpi xmlns:a14="http://schemas.microsoft.com/office/drawing/2010/main"/>
              </a:ext>
            </a:extLst>
          </a:blip>
          <a:srcRect/>
          <a:stretch>
            <a:fillRect/>
          </a:stretch>
        </p:blipFill>
        <p:spPr bwMode="auto">
          <a:xfrm>
            <a:off x="3437094" y="3181076"/>
            <a:ext cx="1556853" cy="566695"/>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1900003" y="3181076"/>
            <a:ext cx="1307805" cy="599691"/>
          </a:xfrm>
          <a:prstGeom prst="rect">
            <a:avLst/>
          </a:prstGeom>
        </p:spPr>
      </p:pic>
      <p:pic>
        <p:nvPicPr>
          <p:cNvPr id="14" name="Picture 13"/>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3952805" y="5749326"/>
            <a:ext cx="1267057" cy="544971"/>
          </a:xfrm>
          <a:prstGeom prst="rect">
            <a:avLst/>
          </a:prstGeom>
        </p:spPr>
      </p:pic>
      <p:pic>
        <p:nvPicPr>
          <p:cNvPr id="15" name="Picture 14"/>
          <p:cNvPicPr>
            <a:picLocks noChangeAspect="1"/>
          </p:cNvPicPr>
          <p:nvPr/>
        </p:nvPicPr>
        <p:blipFill>
          <a:blip r:embed="rId12" cstate="email">
            <a:extLst>
              <a:ext uri="{28A0092B-C50C-407E-A947-70E740481C1C}">
                <a14:useLocalDpi xmlns:a14="http://schemas.microsoft.com/office/drawing/2010/main"/>
              </a:ext>
            </a:extLst>
          </a:blip>
          <a:stretch>
            <a:fillRect/>
          </a:stretch>
        </p:blipFill>
        <p:spPr>
          <a:xfrm>
            <a:off x="147833" y="5687308"/>
            <a:ext cx="1949464" cy="671127"/>
          </a:xfrm>
          <a:prstGeom prst="rect">
            <a:avLst/>
          </a:prstGeom>
        </p:spPr>
      </p:pic>
      <p:pic>
        <p:nvPicPr>
          <p:cNvPr id="16" name="Picture 15"/>
          <p:cNvPicPr>
            <a:picLocks noChangeAspect="1"/>
          </p:cNvPicPr>
          <p:nvPr/>
        </p:nvPicPr>
        <p:blipFill>
          <a:blip r:embed="rId13" cstate="email">
            <a:extLst>
              <a:ext uri="{28A0092B-C50C-407E-A947-70E740481C1C}">
                <a14:useLocalDpi xmlns:a14="http://schemas.microsoft.com/office/drawing/2010/main"/>
              </a:ext>
            </a:extLst>
          </a:blip>
          <a:stretch>
            <a:fillRect/>
          </a:stretch>
        </p:blipFill>
        <p:spPr>
          <a:xfrm>
            <a:off x="724254" y="6310429"/>
            <a:ext cx="2140342" cy="428068"/>
          </a:xfrm>
          <a:prstGeom prst="rect">
            <a:avLst/>
          </a:prstGeom>
        </p:spPr>
      </p:pic>
    </p:spTree>
    <p:extLst>
      <p:ext uri="{BB962C8B-B14F-4D97-AF65-F5344CB8AC3E}">
        <p14:creationId xmlns:p14="http://schemas.microsoft.com/office/powerpoint/2010/main" val="27793235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E222663-B5C1-59B2-D358-5CE901F9086F}"/>
              </a:ext>
            </a:extLst>
          </p:cNvPr>
          <p:cNvSpPr>
            <a:spLocks noGrp="1"/>
          </p:cNvSpPr>
          <p:nvPr>
            <p:ph type="title"/>
          </p:nvPr>
        </p:nvSpPr>
        <p:spPr>
          <a:xfrm>
            <a:off x="119744" y="71564"/>
            <a:ext cx="8262257" cy="1325563"/>
          </a:xfrm>
          <a:noFill/>
        </p:spPr>
        <p:txBody>
          <a:bodyPr/>
          <a:lstStyle/>
          <a:p>
            <a:r>
              <a:rPr lang="en-US" dirty="0">
                <a:ea typeface="Lato Medium"/>
                <a:cs typeface="Lato Medium"/>
              </a:rPr>
              <a:t>ILPQC Sponsored – FREE</a:t>
            </a:r>
            <a:br>
              <a:rPr lang="en-US" dirty="0">
                <a:ea typeface="Lato Medium"/>
                <a:cs typeface="Lato Medium"/>
              </a:rPr>
            </a:br>
            <a:r>
              <a:rPr lang="en-US" dirty="0">
                <a:ea typeface="Lato Medium"/>
                <a:cs typeface="Lato Medium"/>
              </a:rPr>
              <a:t>PQI Intermittent Auscultation (IA) Opportunity for Teams </a:t>
            </a:r>
            <a:endParaRPr lang="en-US" dirty="0"/>
          </a:p>
        </p:txBody>
      </p:sp>
      <p:pic>
        <p:nvPicPr>
          <p:cNvPr id="6" name="Picture 6" descr="Graphical user interface, website&#10;&#10;Description automatically generated">
            <a:extLst>
              <a:ext uri="{FF2B5EF4-FFF2-40B4-BE49-F238E27FC236}">
                <a16:creationId xmlns:a16="http://schemas.microsoft.com/office/drawing/2014/main" id="{10EEF1DC-7550-914A-AFB7-A867D04B5313}"/>
              </a:ext>
            </a:extLst>
          </p:cNvPr>
          <p:cNvPicPr>
            <a:picLocks noGrp="1" noChangeAspect="1"/>
          </p:cNvPicPr>
          <p:nvPr>
            <p:ph idx="1"/>
          </p:nvPr>
        </p:nvPicPr>
        <p:blipFill>
          <a:blip r:embed="rId2"/>
          <a:stretch>
            <a:fillRect/>
          </a:stretch>
        </p:blipFill>
        <p:spPr>
          <a:xfrm>
            <a:off x="748953" y="1536775"/>
            <a:ext cx="4601905" cy="3714599"/>
          </a:xfrm>
        </p:spPr>
      </p:pic>
      <p:sp>
        <p:nvSpPr>
          <p:cNvPr id="4" name="Slide Number Placeholder 3">
            <a:extLst>
              <a:ext uri="{FF2B5EF4-FFF2-40B4-BE49-F238E27FC236}">
                <a16:creationId xmlns:a16="http://schemas.microsoft.com/office/drawing/2014/main" id="{01CC2CAC-4023-F2E9-D470-458955B75FFD}"/>
              </a:ext>
            </a:extLst>
          </p:cNvPr>
          <p:cNvSpPr>
            <a:spLocks noGrp="1"/>
          </p:cNvSpPr>
          <p:nvPr>
            <p:ph type="sldNum" sz="quarter" idx="10"/>
          </p:nvPr>
        </p:nvSpPr>
        <p:spPr/>
        <p:txBody>
          <a:bodyPr/>
          <a:lstStyle/>
          <a:p>
            <a:fld id="{97033E4B-E3EB-3D46-B2D8-3159663620FA}" type="slidenum">
              <a:rPr lang="en-US" smtClean="0"/>
              <a:pPr/>
              <a:t>4</a:t>
            </a:fld>
            <a:endParaRPr lang="en-US"/>
          </a:p>
        </p:txBody>
      </p:sp>
      <p:sp>
        <p:nvSpPr>
          <p:cNvPr id="5" name="Footer Placeholder 4">
            <a:extLst>
              <a:ext uri="{FF2B5EF4-FFF2-40B4-BE49-F238E27FC236}">
                <a16:creationId xmlns:a16="http://schemas.microsoft.com/office/drawing/2014/main" id="{5957C3FA-CBE6-FFCF-54DF-33B2B0940035}"/>
              </a:ext>
            </a:extLst>
          </p:cNvPr>
          <p:cNvSpPr>
            <a:spLocks noGrp="1"/>
          </p:cNvSpPr>
          <p:nvPr>
            <p:ph type="ftr" sz="quarter" idx="11"/>
          </p:nvPr>
        </p:nvSpPr>
        <p:spPr/>
        <p:txBody>
          <a:bodyPr/>
          <a:lstStyle/>
          <a:p>
            <a:pPr algn="l"/>
            <a:r>
              <a:rPr lang="en-US"/>
              <a:t>Illinois Perinatal Quality Collaborative</a:t>
            </a:r>
          </a:p>
        </p:txBody>
      </p:sp>
      <p:sp>
        <p:nvSpPr>
          <p:cNvPr id="7" name="TextBox 6">
            <a:extLst>
              <a:ext uri="{FF2B5EF4-FFF2-40B4-BE49-F238E27FC236}">
                <a16:creationId xmlns:a16="http://schemas.microsoft.com/office/drawing/2014/main" id="{D3BD6F93-E6A7-5945-ADBA-D0886F334AE8}"/>
              </a:ext>
            </a:extLst>
          </p:cNvPr>
          <p:cNvSpPr txBox="1"/>
          <p:nvPr/>
        </p:nvSpPr>
        <p:spPr>
          <a:xfrm>
            <a:off x="6192792" y="1461527"/>
            <a:ext cx="5599068" cy="489364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400" dirty="0">
                <a:ea typeface="+mn-lt"/>
                <a:cs typeface="+mn-lt"/>
              </a:rPr>
              <a:t>This 45–60-minute online program provides interactive, simulation-based training, and competency assessment designed to improve nurses', midwives', and physicians' IA usage and interpretation skills. This education includes:</a:t>
            </a:r>
            <a:endParaRPr lang="en-US" sz="2400" dirty="0">
              <a:cs typeface="Calibri"/>
            </a:endParaRPr>
          </a:p>
          <a:p>
            <a:pPr marL="285750" indent="-285750">
              <a:buFont typeface="Arial"/>
              <a:buChar char="•"/>
            </a:pPr>
            <a:r>
              <a:rPr lang="en-US" sz="2400" dirty="0">
                <a:ea typeface="+mn-lt"/>
                <a:cs typeface="+mn-lt"/>
              </a:rPr>
              <a:t>evidence related to the use of intermittent auscultation</a:t>
            </a:r>
            <a:endParaRPr lang="en-US" sz="2400" dirty="0">
              <a:cs typeface="Calibri" panose="020F0502020204030204"/>
            </a:endParaRPr>
          </a:p>
          <a:p>
            <a:pPr marL="285750" indent="-285750">
              <a:buFont typeface="Arial"/>
              <a:buChar char="•"/>
            </a:pPr>
            <a:r>
              <a:rPr lang="en-US" sz="2400" dirty="0">
                <a:ea typeface="+mn-lt"/>
                <a:cs typeface="+mn-lt"/>
              </a:rPr>
              <a:t>correct technique to perform IA effectively </a:t>
            </a:r>
            <a:endParaRPr lang="en-US" sz="2400" dirty="0">
              <a:cs typeface="Calibri" panose="020F0502020204030204"/>
            </a:endParaRPr>
          </a:p>
          <a:p>
            <a:pPr marL="285750" indent="-285750">
              <a:buFont typeface="Arial"/>
              <a:buChar char="•"/>
            </a:pPr>
            <a:r>
              <a:rPr lang="en-US" sz="2400" dirty="0">
                <a:ea typeface="+mn-lt"/>
                <a:cs typeface="+mn-lt"/>
              </a:rPr>
              <a:t>IA Practice Guide for interpretation and management of IA findings</a:t>
            </a:r>
            <a:endParaRPr lang="en-US" sz="2400" dirty="0">
              <a:cs typeface="Calibri" panose="020F0502020204030204"/>
            </a:endParaRPr>
          </a:p>
          <a:p>
            <a:pPr marL="285750" indent="-285750">
              <a:buFont typeface="Arial"/>
              <a:buChar char="•"/>
            </a:pPr>
            <a:r>
              <a:rPr lang="en-US" sz="2400" dirty="0">
                <a:ea typeface="+mn-lt"/>
                <a:cs typeface="+mn-lt"/>
              </a:rPr>
              <a:t>simulated IA practice scenarios</a:t>
            </a:r>
            <a:endParaRPr lang="en-US" sz="2400" dirty="0">
              <a:cs typeface="Calibri" panose="020F0502020204030204"/>
            </a:endParaRPr>
          </a:p>
        </p:txBody>
      </p:sp>
      <p:sp>
        <p:nvSpPr>
          <p:cNvPr id="8" name="TextBox 7">
            <a:extLst>
              <a:ext uri="{FF2B5EF4-FFF2-40B4-BE49-F238E27FC236}">
                <a16:creationId xmlns:a16="http://schemas.microsoft.com/office/drawing/2014/main" id="{F22050AD-AE67-38E9-67C1-13251A72937A}"/>
              </a:ext>
            </a:extLst>
          </p:cNvPr>
          <p:cNvSpPr txBox="1"/>
          <p:nvPr/>
        </p:nvSpPr>
        <p:spPr>
          <a:xfrm>
            <a:off x="14636750" y="2936875"/>
            <a:ext cx="2743200" cy="457200"/>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l"/>
            <a:endParaRPr lang="en-US"/>
          </a:p>
        </p:txBody>
      </p:sp>
      <p:sp>
        <p:nvSpPr>
          <p:cNvPr id="3" name="Rectangle: Rounded Corners 2">
            <a:extLst>
              <a:ext uri="{FF2B5EF4-FFF2-40B4-BE49-F238E27FC236}">
                <a16:creationId xmlns:a16="http://schemas.microsoft.com/office/drawing/2014/main" id="{8CB859EE-C738-8C69-F5AA-169688EC7444}"/>
              </a:ext>
            </a:extLst>
          </p:cNvPr>
          <p:cNvSpPr/>
          <p:nvPr/>
        </p:nvSpPr>
        <p:spPr>
          <a:xfrm>
            <a:off x="605179" y="4225664"/>
            <a:ext cx="5354875" cy="2049067"/>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pPr algn="ctr">
              <a:lnSpc>
                <a:spcPct val="150000"/>
              </a:lnSpc>
            </a:pPr>
            <a:r>
              <a:rPr lang="en-US" sz="2000" dirty="0">
                <a:cs typeface="Calibri"/>
              </a:rPr>
              <a:t>Each PVB Team will have access to 1 PQI IA online train the trainer course.</a:t>
            </a:r>
          </a:p>
          <a:p>
            <a:pPr algn="ctr">
              <a:lnSpc>
                <a:spcPct val="150000"/>
              </a:lnSpc>
            </a:pPr>
            <a:r>
              <a:rPr lang="en-US" sz="2000" b="1" dirty="0">
                <a:cs typeface="Calibri"/>
              </a:rPr>
              <a:t>*Emails sent to PVB Team Leads*</a:t>
            </a:r>
          </a:p>
          <a:p>
            <a:pPr algn="ctr"/>
            <a:r>
              <a:rPr lang="en-US" sz="2000" dirty="0">
                <a:cs typeface="Calibri"/>
              </a:rPr>
              <a:t>Email </a:t>
            </a:r>
            <a:r>
              <a:rPr lang="en-US" sz="2000" dirty="0">
                <a:cs typeface="Calibri"/>
                <a:hlinkClick r:id="rId3"/>
              </a:rPr>
              <a:t>ellie.suse@northwestern.edu</a:t>
            </a:r>
            <a:r>
              <a:rPr lang="en-US" sz="2000" dirty="0">
                <a:cs typeface="Calibri"/>
              </a:rPr>
              <a:t> </a:t>
            </a:r>
          </a:p>
          <a:p>
            <a:pPr algn="ctr"/>
            <a:r>
              <a:rPr lang="en-US" sz="2000" dirty="0">
                <a:cs typeface="Calibri"/>
              </a:rPr>
              <a:t>for more information.</a:t>
            </a:r>
          </a:p>
        </p:txBody>
      </p:sp>
    </p:spTree>
    <p:extLst>
      <p:ext uri="{BB962C8B-B14F-4D97-AF65-F5344CB8AC3E}">
        <p14:creationId xmlns:p14="http://schemas.microsoft.com/office/powerpoint/2010/main" val="33932288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2023 ILPQC Face-to-Face Meeting</a:t>
            </a:r>
          </a:p>
        </p:txBody>
      </p:sp>
      <p:sp>
        <p:nvSpPr>
          <p:cNvPr id="3" name="Subtitle 2"/>
          <p:cNvSpPr>
            <a:spLocks noGrp="1"/>
          </p:cNvSpPr>
          <p:nvPr>
            <p:ph type="subTitle" idx="1"/>
          </p:nvPr>
        </p:nvSpPr>
        <p:spPr/>
        <p:txBody>
          <a:bodyPr/>
          <a:lstStyle/>
          <a:p>
            <a:endParaRPr lang="en-US"/>
          </a:p>
        </p:txBody>
      </p:sp>
    </p:spTree>
    <p:extLst>
      <p:ext uri="{BB962C8B-B14F-4D97-AF65-F5344CB8AC3E}">
        <p14:creationId xmlns:p14="http://schemas.microsoft.com/office/powerpoint/2010/main" val="17360622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6" descr="Graphical user interface, application&#10;&#10;Description automatically generated">
            <a:extLst>
              <a:ext uri="{FF2B5EF4-FFF2-40B4-BE49-F238E27FC236}">
                <a16:creationId xmlns:a16="http://schemas.microsoft.com/office/drawing/2014/main" id="{7E768ADB-AB92-2852-B891-F4458D02411A}"/>
              </a:ext>
            </a:extLst>
          </p:cNvPr>
          <p:cNvPicPr>
            <a:picLocks noGrp="1" noChangeAspect="1"/>
          </p:cNvPicPr>
          <p:nvPr>
            <p:ph idx="1"/>
          </p:nvPr>
        </p:nvPicPr>
        <p:blipFill>
          <a:blip r:embed="rId2"/>
          <a:stretch>
            <a:fillRect/>
          </a:stretch>
        </p:blipFill>
        <p:spPr>
          <a:xfrm>
            <a:off x="114620" y="1129552"/>
            <a:ext cx="8419235" cy="5409359"/>
          </a:xfrm>
          <a:prstGeom prst="rect">
            <a:avLst/>
          </a:prstGeom>
        </p:spPr>
      </p:pic>
      <p:sp>
        <p:nvSpPr>
          <p:cNvPr id="5" name="Footer Placeholder 4">
            <a:extLst>
              <a:ext uri="{FF2B5EF4-FFF2-40B4-BE49-F238E27FC236}">
                <a16:creationId xmlns:a16="http://schemas.microsoft.com/office/drawing/2014/main" id="{2F89BFF7-FA31-52DD-3594-7B4E69DBF98F}"/>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pPr>
            <a:r>
              <a:rPr lang="en-US" kern="1200">
                <a:solidFill>
                  <a:srgbClr val="FFFFFF"/>
                </a:solidFill>
                <a:latin typeface="+mn-lt"/>
                <a:ea typeface="+mn-ea"/>
                <a:cs typeface="+mn-cs"/>
              </a:rPr>
              <a:t>Illinois Perinatal Quality Collaborative</a:t>
            </a:r>
          </a:p>
        </p:txBody>
      </p:sp>
      <p:sp>
        <p:nvSpPr>
          <p:cNvPr id="4" name="Slide Number Placeholder 3">
            <a:extLst>
              <a:ext uri="{FF2B5EF4-FFF2-40B4-BE49-F238E27FC236}">
                <a16:creationId xmlns:a16="http://schemas.microsoft.com/office/drawing/2014/main" id="{985EB7EB-7C37-6AFB-3B6D-4089672F0B2D}"/>
              </a:ext>
            </a:extLst>
          </p:cNvPr>
          <p:cNvSpPr>
            <a:spLocks noGrp="1"/>
          </p:cNvSpPr>
          <p:nvPr>
            <p:ph type="sldNum" sz="quarter" idx="10"/>
          </p:nvPr>
        </p:nvSpPr>
        <p:spPr>
          <a:xfrm>
            <a:off x="8610600" y="6356350"/>
            <a:ext cx="2743200" cy="365125"/>
          </a:xfrm>
        </p:spPr>
        <p:txBody>
          <a:bodyPr vert="horz" lIns="91440" tIns="45720" rIns="91440" bIns="45720" rtlCol="0" anchor="ctr">
            <a:normAutofit/>
          </a:bodyPr>
          <a:lstStyle/>
          <a:p>
            <a:pPr>
              <a:spcAft>
                <a:spcPts val="600"/>
              </a:spcAft>
            </a:pPr>
            <a:fld id="{97033E4B-E3EB-3D46-B2D8-3159663620FA}" type="slidenum">
              <a:rPr lang="en-US">
                <a:solidFill>
                  <a:srgbClr val="FFFFFF"/>
                </a:solidFill>
              </a:rPr>
              <a:pPr>
                <a:spcAft>
                  <a:spcPts val="600"/>
                </a:spcAft>
              </a:pPr>
              <a:t>6</a:t>
            </a:fld>
            <a:endParaRPr lang="en-US">
              <a:solidFill>
                <a:srgbClr val="FFFFFF"/>
              </a:solidFill>
            </a:endParaRPr>
          </a:p>
        </p:txBody>
      </p:sp>
      <p:sp>
        <p:nvSpPr>
          <p:cNvPr id="7" name="Rounded Rectangle 6"/>
          <p:cNvSpPr/>
          <p:nvPr/>
        </p:nvSpPr>
        <p:spPr>
          <a:xfrm>
            <a:off x="8369449" y="2990626"/>
            <a:ext cx="3679115" cy="1990164"/>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800" b="1">
                <a:ln w="22225">
                  <a:solidFill>
                    <a:schemeClr val="accent2"/>
                  </a:solidFill>
                  <a:prstDash val="solid"/>
                </a:ln>
                <a:solidFill>
                  <a:schemeClr val="accent2">
                    <a:lumMod val="40000"/>
                    <a:lumOff val="60000"/>
                  </a:schemeClr>
                </a:solidFill>
              </a:rPr>
              <a:t>We are back in person in Springfield for Face-to-Face 2023!!!</a:t>
            </a:r>
          </a:p>
        </p:txBody>
      </p:sp>
    </p:spTree>
    <p:extLst>
      <p:ext uri="{BB962C8B-B14F-4D97-AF65-F5344CB8AC3E}">
        <p14:creationId xmlns:p14="http://schemas.microsoft.com/office/powerpoint/2010/main" val="2975913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235118" y="1988540"/>
            <a:ext cx="11808366" cy="4638885"/>
          </a:xfrm>
        </p:spPr>
        <p:txBody>
          <a:bodyPr vert="horz" lIns="91440" tIns="45720" rIns="91440" bIns="45720" rtlCol="0" anchor="t">
            <a:noAutofit/>
          </a:bodyPr>
          <a:lstStyle/>
          <a:p>
            <a:pPr>
              <a:spcAft>
                <a:spcPts val="0"/>
              </a:spcAft>
              <a:buFont typeface="Wingdings" panose="05000000000000000000" pitchFamily="2" charset="2"/>
              <a:buChar char="q"/>
            </a:pPr>
            <a:r>
              <a:rPr lang="en-US" sz="2800">
                <a:ea typeface="Lato"/>
                <a:cs typeface="Lato"/>
              </a:rPr>
              <a:t> All </a:t>
            </a:r>
            <a:r>
              <a:rPr lang="en-US" sz="2800" u="sng">
                <a:ea typeface="Lato"/>
                <a:cs typeface="Lato"/>
              </a:rPr>
              <a:t>structure</a:t>
            </a:r>
            <a:r>
              <a:rPr lang="en-US" sz="2800">
                <a:ea typeface="Lato"/>
                <a:cs typeface="Lato"/>
              </a:rPr>
              <a:t> &amp; </a:t>
            </a:r>
            <a:r>
              <a:rPr lang="en-US" sz="2800" u="sng">
                <a:ea typeface="Lato"/>
                <a:cs typeface="Lato"/>
              </a:rPr>
              <a:t>patient-level</a:t>
            </a:r>
            <a:r>
              <a:rPr lang="en-US" sz="2800">
                <a:ea typeface="Lato"/>
                <a:cs typeface="Lato"/>
              </a:rPr>
              <a:t> data entered for Baseline-August 2022 </a:t>
            </a:r>
          </a:p>
          <a:p>
            <a:pPr>
              <a:spcAft>
                <a:spcPts val="0"/>
              </a:spcAft>
              <a:buFont typeface="Wingdings" panose="05000000000000000000" pitchFamily="2" charset="2"/>
              <a:buChar char="q"/>
            </a:pPr>
            <a:r>
              <a:rPr lang="en-US" sz="2800">
                <a:ea typeface="Lato"/>
                <a:cs typeface="Lato"/>
              </a:rPr>
              <a:t> Key Structure Measures "In Place":</a:t>
            </a:r>
          </a:p>
          <a:p>
            <a:pPr lvl="1">
              <a:spcAft>
                <a:spcPts val="0"/>
              </a:spcAft>
              <a:buFont typeface="Wingdings" panose="05000000000000000000" pitchFamily="2" charset="2"/>
              <a:buChar char="q"/>
            </a:pPr>
            <a:r>
              <a:rPr lang="en-US" sz="2400">
                <a:ea typeface="Lato"/>
                <a:cs typeface="Lato"/>
              </a:rPr>
              <a:t> Provider and Nurse Education </a:t>
            </a:r>
          </a:p>
          <a:p>
            <a:pPr lvl="1">
              <a:spcAft>
                <a:spcPts val="0"/>
              </a:spcAft>
              <a:buFont typeface="Wingdings" panose="05000000000000000000" pitchFamily="2" charset="2"/>
              <a:buChar char="q"/>
            </a:pPr>
            <a:r>
              <a:rPr lang="en-US" sz="2400">
                <a:ea typeface="Lato"/>
                <a:cs typeface="Lato"/>
              </a:rPr>
              <a:t> Standardized Protocol/Processes</a:t>
            </a:r>
          </a:p>
          <a:p>
            <a:pPr lvl="1">
              <a:spcAft>
                <a:spcPts val="0"/>
              </a:spcAft>
              <a:buFont typeface="Wingdings" panose="05000000000000000000" pitchFamily="2" charset="2"/>
              <a:buChar char="q"/>
            </a:pPr>
            <a:r>
              <a:rPr lang="en-US" sz="2400">
                <a:ea typeface="Lato"/>
                <a:cs typeface="Lato"/>
              </a:rPr>
              <a:t> Sharing un-blinded provider level NTSV C-Section rates</a:t>
            </a:r>
          </a:p>
          <a:p>
            <a:pPr lvl="1">
              <a:spcAft>
                <a:spcPts val="0"/>
              </a:spcAft>
              <a:buFont typeface="Wingdings" panose="05000000000000000000" pitchFamily="2" charset="2"/>
              <a:buChar char="q"/>
            </a:pPr>
            <a:r>
              <a:rPr lang="en-US" sz="2400">
                <a:ea typeface="Lato"/>
                <a:cs typeface="Lato"/>
              </a:rPr>
              <a:t> Cesarean Decision Checklist</a:t>
            </a:r>
          </a:p>
          <a:p>
            <a:pPr lvl="1">
              <a:spcAft>
                <a:spcPts val="0"/>
              </a:spcAft>
              <a:buFont typeface="Wingdings" panose="05000000000000000000" pitchFamily="2" charset="2"/>
              <a:buChar char="q"/>
            </a:pPr>
            <a:r>
              <a:rPr lang="en-US" sz="2400">
                <a:ea typeface="Lato"/>
                <a:cs typeface="Lato"/>
              </a:rPr>
              <a:t> Decision Huddles/Debriefs</a:t>
            </a:r>
          </a:p>
          <a:p>
            <a:pPr lvl="1">
              <a:spcAft>
                <a:spcPts val="0"/>
              </a:spcAft>
              <a:buFont typeface="Wingdings" panose="05000000000000000000" pitchFamily="2" charset="2"/>
              <a:buChar char="q"/>
            </a:pPr>
            <a:r>
              <a:rPr lang="en-US" sz="2400">
                <a:ea typeface="Lato"/>
                <a:cs typeface="Lato"/>
              </a:rPr>
              <a:t> Shared Decision-Making</a:t>
            </a:r>
          </a:p>
          <a:p>
            <a:pPr lvl="1">
              <a:spcAft>
                <a:spcPts val="0"/>
              </a:spcAft>
              <a:buFont typeface="Arial"/>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cs typeface="Arial" panose="020B0604020202020204"/>
            </a:endParaRPr>
          </a:p>
          <a:p>
            <a:pPr>
              <a:spcAft>
                <a:spcPts val="0"/>
              </a:spcAft>
            </a:pPr>
            <a:endParaRPr lang="en-US" sz="1800"/>
          </a:p>
        </p:txBody>
      </p:sp>
      <p:sp>
        <p:nvSpPr>
          <p:cNvPr id="4" name="Slide Number Placeholder 3"/>
          <p:cNvSpPr>
            <a:spLocks noGrp="1"/>
          </p:cNvSpPr>
          <p:nvPr>
            <p:ph type="sldNum" sz="quarter" idx="10"/>
          </p:nvPr>
        </p:nvSpPr>
        <p:spPr/>
        <p:txBody>
          <a:bodyPr/>
          <a:lstStyle/>
          <a:p>
            <a:fld id="{97033E4B-E3EB-3D46-B2D8-3159663620FA}" type="slidenum">
              <a:rPr lang="en-US" smtClean="0"/>
              <a:pPr/>
              <a:t>7</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pic>
        <p:nvPicPr>
          <p:cNvPr id="11" name="Picture 10"/>
          <p:cNvPicPr>
            <a:picLocks noChangeAspect="1"/>
          </p:cNvPicPr>
          <p:nvPr/>
        </p:nvPicPr>
        <p:blipFill>
          <a:blip r:embed="rId3"/>
          <a:stretch>
            <a:fillRect/>
          </a:stretch>
        </p:blipFill>
        <p:spPr>
          <a:xfrm>
            <a:off x="9078939" y="3754750"/>
            <a:ext cx="2604126" cy="2966725"/>
          </a:xfrm>
          <a:prstGeom prst="rect">
            <a:avLst/>
          </a:prstGeom>
        </p:spPr>
      </p:pic>
      <p:pic>
        <p:nvPicPr>
          <p:cNvPr id="6" name="Picture 5"/>
          <p:cNvPicPr>
            <a:picLocks noChangeAspect="1"/>
          </p:cNvPicPr>
          <p:nvPr/>
        </p:nvPicPr>
        <p:blipFill>
          <a:blip r:embed="rId4"/>
          <a:stretch>
            <a:fillRect/>
          </a:stretch>
        </p:blipFill>
        <p:spPr>
          <a:xfrm>
            <a:off x="134453" y="-50095"/>
            <a:ext cx="6944694" cy="2038635"/>
          </a:xfrm>
          <a:prstGeom prst="rect">
            <a:avLst/>
          </a:prstGeom>
        </p:spPr>
      </p:pic>
      <p:sp>
        <p:nvSpPr>
          <p:cNvPr id="7" name="Explosion: 8 Points 12">
            <a:extLst>
              <a:ext uri="{FF2B5EF4-FFF2-40B4-BE49-F238E27FC236}">
                <a16:creationId xmlns:a16="http://schemas.microsoft.com/office/drawing/2014/main" id="{4E5C9945-CED1-DE11-01CE-2B8D475ED1DB}"/>
              </a:ext>
            </a:extLst>
          </p:cNvPr>
          <p:cNvSpPr/>
          <p:nvPr/>
        </p:nvSpPr>
        <p:spPr>
          <a:xfrm>
            <a:off x="9078939" y="2521325"/>
            <a:ext cx="2769260" cy="1967947"/>
          </a:xfrm>
          <a:prstGeom prst="irregularSeal1">
            <a:avLst/>
          </a:prstGeom>
          <a:solidFill>
            <a:srgbClr val="00B0F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a:ea typeface="Calibri"/>
                <a:cs typeface="Calibri"/>
              </a:rPr>
              <a:t>All Data due </a:t>
            </a:r>
          </a:p>
          <a:p>
            <a:pPr algn="ctr"/>
            <a:r>
              <a:rPr lang="en-US" b="1">
                <a:ea typeface="Calibri"/>
                <a:cs typeface="Calibri"/>
              </a:rPr>
              <a:t>April 21st!</a:t>
            </a:r>
          </a:p>
        </p:txBody>
      </p:sp>
    </p:spTree>
    <p:extLst>
      <p:ext uri="{BB962C8B-B14F-4D97-AF65-F5344CB8AC3E}">
        <p14:creationId xmlns:p14="http://schemas.microsoft.com/office/powerpoint/2010/main" val="382108630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2361547"/>
            <a:ext cx="7899400" cy="4351338"/>
          </a:xfrm>
        </p:spPr>
        <p:txBody>
          <a:bodyPr/>
          <a:lstStyle/>
          <a:p>
            <a:pPr>
              <a:spcAft>
                <a:spcPts val="1200"/>
              </a:spcAft>
              <a:buFont typeface="Wingdings" panose="05000000000000000000" pitchFamily="2" charset="2"/>
              <a:buChar char="q"/>
            </a:pPr>
            <a:r>
              <a:rPr lang="en-US" sz="2800">
                <a:ea typeface="+mn-lt"/>
                <a:cs typeface="+mn-lt"/>
              </a:rPr>
              <a:t> Achievement of PVB aims </a:t>
            </a:r>
          </a:p>
          <a:p>
            <a:pPr lvl="1">
              <a:spcAft>
                <a:spcPts val="1200"/>
              </a:spcAft>
              <a:buFont typeface="Wingdings" panose="05000000000000000000" pitchFamily="2" charset="2"/>
              <a:buChar char="q"/>
            </a:pPr>
            <a:r>
              <a:rPr lang="en-US" sz="2400">
                <a:ea typeface="+mn-lt"/>
                <a:cs typeface="+mn-lt"/>
              </a:rPr>
              <a:t> </a:t>
            </a:r>
            <a:r>
              <a:rPr lang="en-US" sz="2400">
                <a:ea typeface="Lato"/>
                <a:cs typeface="Arial" panose="020B0604020202020204"/>
              </a:rPr>
              <a:t>≥ </a:t>
            </a:r>
            <a:r>
              <a:rPr lang="en-US" sz="2400" u="sng"/>
              <a:t>80% </a:t>
            </a:r>
            <a:r>
              <a:rPr lang="en-US" sz="2400"/>
              <a:t>of Providers and Nurses educated on ACOG/SMFM guidelines</a:t>
            </a:r>
            <a:endParaRPr lang="en-US" sz="2400" b="1" u="sng"/>
          </a:p>
          <a:p>
            <a:pPr lvl="1">
              <a:spcAft>
                <a:spcPts val="1200"/>
              </a:spcAft>
              <a:buFont typeface="Wingdings" panose="05000000000000000000" pitchFamily="2" charset="2"/>
              <a:buChar char="q"/>
            </a:pPr>
            <a:r>
              <a:rPr lang="en-US" sz="2400">
                <a:ea typeface="Lato"/>
                <a:cs typeface="Arial" panose="020B0604020202020204"/>
              </a:rPr>
              <a:t> ≥ 80% </a:t>
            </a:r>
            <a:r>
              <a:rPr lang="en-US" sz="2400">
                <a:ea typeface="+mn-lt"/>
                <a:cs typeface="+mn-lt"/>
              </a:rPr>
              <a:t>of all NTSV C-Sections meeting ACOG/SMFM guidelines</a:t>
            </a:r>
          </a:p>
          <a:p>
            <a:pPr lvl="1">
              <a:spcAft>
                <a:spcPts val="1200"/>
              </a:spcAft>
              <a:buFont typeface="Wingdings" panose="05000000000000000000" pitchFamily="2" charset="2"/>
              <a:buChar char="q"/>
            </a:pPr>
            <a:r>
              <a:rPr lang="en-US" sz="2400"/>
              <a:t> NTSV C-Section Rate ≤</a:t>
            </a:r>
            <a:r>
              <a:rPr lang="en-US" sz="2400" b="1" u="sng"/>
              <a:t>23.6%</a:t>
            </a:r>
          </a:p>
          <a:p>
            <a:endParaRPr lang="en-US"/>
          </a:p>
        </p:txBody>
      </p:sp>
      <p:sp>
        <p:nvSpPr>
          <p:cNvPr id="4" name="Slide Number Placeholder 3"/>
          <p:cNvSpPr>
            <a:spLocks noGrp="1"/>
          </p:cNvSpPr>
          <p:nvPr>
            <p:ph type="sldNum" sz="quarter" idx="10"/>
          </p:nvPr>
        </p:nvSpPr>
        <p:spPr/>
        <p:txBody>
          <a:bodyPr/>
          <a:lstStyle/>
          <a:p>
            <a:fld id="{97033E4B-E3EB-3D46-B2D8-3159663620FA}" type="slidenum">
              <a:rPr lang="en-US" smtClean="0"/>
              <a:pPr/>
              <a:t>8</a:t>
            </a:fld>
            <a:endParaRPr lang="en-US"/>
          </a:p>
        </p:txBody>
      </p:sp>
      <p:sp>
        <p:nvSpPr>
          <p:cNvPr id="5" name="Footer Placeholder 4"/>
          <p:cNvSpPr>
            <a:spLocks noGrp="1"/>
          </p:cNvSpPr>
          <p:nvPr>
            <p:ph type="ftr" sz="quarter" idx="11"/>
          </p:nvPr>
        </p:nvSpPr>
        <p:spPr/>
        <p:txBody>
          <a:bodyPr/>
          <a:lstStyle/>
          <a:p>
            <a:pPr algn="l"/>
            <a:r>
              <a:rPr lang="en-US"/>
              <a:t>Illinois Perinatal Quality Collaborative</a:t>
            </a:r>
          </a:p>
        </p:txBody>
      </p:sp>
      <p:sp>
        <p:nvSpPr>
          <p:cNvPr id="6" name="Title 5"/>
          <p:cNvSpPr>
            <a:spLocks noGrp="1"/>
          </p:cNvSpPr>
          <p:nvPr>
            <p:ph type="title"/>
          </p:nvPr>
        </p:nvSpPr>
        <p:spPr/>
        <p:txBody>
          <a:bodyPr/>
          <a:lstStyle/>
          <a:p>
            <a:endParaRPr lang="en-US"/>
          </a:p>
        </p:txBody>
      </p:sp>
      <p:pic>
        <p:nvPicPr>
          <p:cNvPr id="8" name="Picture 7"/>
          <p:cNvPicPr>
            <a:picLocks noChangeAspect="1"/>
          </p:cNvPicPr>
          <p:nvPr/>
        </p:nvPicPr>
        <p:blipFill>
          <a:blip r:embed="rId2"/>
          <a:stretch>
            <a:fillRect/>
          </a:stretch>
        </p:blipFill>
        <p:spPr>
          <a:xfrm>
            <a:off x="0" y="8588"/>
            <a:ext cx="6944694" cy="2038635"/>
          </a:xfrm>
          <a:prstGeom prst="rect">
            <a:avLst/>
          </a:prstGeom>
        </p:spPr>
      </p:pic>
      <p:pic>
        <p:nvPicPr>
          <p:cNvPr id="9" name="Picture 8"/>
          <p:cNvPicPr>
            <a:picLocks noChangeAspect="1"/>
          </p:cNvPicPr>
          <p:nvPr/>
        </p:nvPicPr>
        <p:blipFill>
          <a:blip r:embed="rId3"/>
          <a:stretch>
            <a:fillRect/>
          </a:stretch>
        </p:blipFill>
        <p:spPr>
          <a:xfrm>
            <a:off x="8839200" y="3296825"/>
            <a:ext cx="2604126" cy="2966725"/>
          </a:xfrm>
          <a:prstGeom prst="rect">
            <a:avLst/>
          </a:prstGeom>
        </p:spPr>
      </p:pic>
    </p:spTree>
    <p:extLst>
      <p:ext uri="{BB962C8B-B14F-4D97-AF65-F5344CB8AC3E}">
        <p14:creationId xmlns:p14="http://schemas.microsoft.com/office/powerpoint/2010/main" val="843434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6EB577-66E7-53DA-42B8-D4CB2BB762A5}"/>
              </a:ext>
            </a:extLst>
          </p:cNvPr>
          <p:cNvSpPr>
            <a:spLocks noGrp="1"/>
          </p:cNvSpPr>
          <p:nvPr>
            <p:ph type="title"/>
          </p:nvPr>
        </p:nvSpPr>
        <p:spPr/>
        <p:txBody>
          <a:bodyPr/>
          <a:lstStyle/>
          <a:p>
            <a:r>
              <a:rPr lang="en-US">
                <a:ea typeface="Lato Medium"/>
                <a:cs typeface="Lato Medium"/>
              </a:rPr>
              <a:t>2023 F2F Volunteers Needed...</a:t>
            </a:r>
            <a:endParaRPr lang="en-US"/>
          </a:p>
        </p:txBody>
      </p:sp>
      <p:sp>
        <p:nvSpPr>
          <p:cNvPr id="4" name="Slide Number Placeholder 3">
            <a:extLst>
              <a:ext uri="{FF2B5EF4-FFF2-40B4-BE49-F238E27FC236}">
                <a16:creationId xmlns:a16="http://schemas.microsoft.com/office/drawing/2014/main" id="{977431D4-663C-17B6-65BD-69A75EF8F35F}"/>
              </a:ext>
            </a:extLst>
          </p:cNvPr>
          <p:cNvSpPr>
            <a:spLocks noGrp="1"/>
          </p:cNvSpPr>
          <p:nvPr>
            <p:ph type="sldNum" sz="quarter" idx="10"/>
          </p:nvPr>
        </p:nvSpPr>
        <p:spPr/>
        <p:txBody>
          <a:bodyPr/>
          <a:lstStyle/>
          <a:p>
            <a:fld id="{97033E4B-E3EB-3D46-B2D8-3159663620FA}" type="slidenum">
              <a:rPr lang="en-US" smtClean="0"/>
              <a:pPr/>
              <a:t>9</a:t>
            </a:fld>
            <a:endParaRPr lang="en-US"/>
          </a:p>
        </p:txBody>
      </p:sp>
      <p:sp>
        <p:nvSpPr>
          <p:cNvPr id="5" name="Footer Placeholder 4">
            <a:extLst>
              <a:ext uri="{FF2B5EF4-FFF2-40B4-BE49-F238E27FC236}">
                <a16:creationId xmlns:a16="http://schemas.microsoft.com/office/drawing/2014/main" id="{C6A50273-CC26-C2A8-5DD3-B09174A67E0F}"/>
              </a:ext>
            </a:extLst>
          </p:cNvPr>
          <p:cNvSpPr>
            <a:spLocks noGrp="1"/>
          </p:cNvSpPr>
          <p:nvPr>
            <p:ph type="ftr" sz="quarter" idx="11"/>
          </p:nvPr>
        </p:nvSpPr>
        <p:spPr/>
        <p:txBody>
          <a:bodyPr/>
          <a:lstStyle/>
          <a:p>
            <a:pPr algn="l"/>
            <a:r>
              <a:rPr lang="en-US"/>
              <a:t>Illinois Perinatal Quality Collaborative</a:t>
            </a:r>
          </a:p>
        </p:txBody>
      </p:sp>
      <p:sp>
        <p:nvSpPr>
          <p:cNvPr id="6" name="Rectangle: Top Corners Rounded 5">
            <a:extLst>
              <a:ext uri="{FF2B5EF4-FFF2-40B4-BE49-F238E27FC236}">
                <a16:creationId xmlns:a16="http://schemas.microsoft.com/office/drawing/2014/main" id="{AC6D559F-AA04-F033-CDCC-B8D9F30D7510}"/>
              </a:ext>
            </a:extLst>
          </p:cNvPr>
          <p:cNvSpPr/>
          <p:nvPr/>
        </p:nvSpPr>
        <p:spPr>
          <a:xfrm>
            <a:off x="887014" y="1577578"/>
            <a:ext cx="10251282" cy="4905373"/>
          </a:xfrm>
          <a:prstGeom prst="round2SameRect">
            <a:avLst/>
          </a:prstGeom>
          <a:solidFill>
            <a:schemeClr val="accent3">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1F54812-49D4-4C27-23F9-2494BFDC3B08}"/>
              </a:ext>
            </a:extLst>
          </p:cNvPr>
          <p:cNvSpPr txBox="1"/>
          <p:nvPr/>
        </p:nvSpPr>
        <p:spPr>
          <a:xfrm>
            <a:off x="1791890" y="1583531"/>
            <a:ext cx="8804671" cy="535531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2800" b="1">
                <a:solidFill>
                  <a:schemeClr val="accent1"/>
                </a:solidFill>
                <a:cs typeface="Calibri"/>
              </a:rPr>
              <a:t>Come one! Come ALL!</a:t>
            </a:r>
            <a:endParaRPr lang="en-US">
              <a:solidFill>
                <a:schemeClr val="accent1"/>
              </a:solidFill>
              <a:cs typeface="Calibri"/>
            </a:endParaRPr>
          </a:p>
          <a:p>
            <a:pPr algn="ctr"/>
            <a:endParaRPr lang="en-US"/>
          </a:p>
          <a:p>
            <a:pPr algn="ctr"/>
            <a:r>
              <a:rPr lang="en-US" sz="2800" b="1">
                <a:solidFill>
                  <a:schemeClr val="accent3"/>
                </a:solidFill>
                <a:cs typeface="Calibri"/>
              </a:rPr>
              <a:t>Join us as we collaborate </a:t>
            </a:r>
            <a:r>
              <a:rPr lang="en-US" sz="2800" b="1" u="sng">
                <a:solidFill>
                  <a:schemeClr val="accent3"/>
                </a:solidFill>
                <a:cs typeface="Calibri"/>
              </a:rPr>
              <a:t>in-person</a:t>
            </a:r>
          </a:p>
          <a:p>
            <a:pPr algn="ctr"/>
            <a:r>
              <a:rPr lang="en-US" sz="2800" b="1">
                <a:solidFill>
                  <a:schemeClr val="accent3"/>
                </a:solidFill>
                <a:cs typeface="Calibri"/>
              </a:rPr>
              <a:t>at ILPQC Face-to-Face event in Springfield, IL.</a:t>
            </a:r>
            <a:endParaRPr lang="en-US">
              <a:solidFill>
                <a:schemeClr val="accent3"/>
              </a:solidFill>
              <a:cs typeface="Calibri"/>
            </a:endParaRPr>
          </a:p>
          <a:p>
            <a:pPr algn="ctr"/>
            <a:r>
              <a:rPr lang="en-US" sz="2800" b="1">
                <a:solidFill>
                  <a:schemeClr val="accent3"/>
                </a:solidFill>
                <a:cs typeface="Calibri"/>
              </a:rPr>
              <a:t>The first ILPQC Face-to-Face event since 2019! </a:t>
            </a:r>
            <a:endParaRPr lang="en-US">
              <a:solidFill>
                <a:schemeClr val="accent3"/>
              </a:solidFill>
              <a:cs typeface="Calibri"/>
            </a:endParaRPr>
          </a:p>
          <a:p>
            <a:pPr algn="ctr"/>
            <a:endParaRPr lang="en-US" sz="2800" b="1">
              <a:solidFill>
                <a:schemeClr val="accent3"/>
              </a:solidFill>
              <a:cs typeface="Calibri"/>
            </a:endParaRPr>
          </a:p>
          <a:p>
            <a:pPr algn="ctr"/>
            <a:r>
              <a:rPr lang="en-US" sz="2800" b="1">
                <a:solidFill>
                  <a:schemeClr val="accent1"/>
                </a:solidFill>
                <a:cs typeface="Calibri"/>
              </a:rPr>
              <a:t>We are looking for volunteers to be a part of the:</a:t>
            </a:r>
          </a:p>
          <a:p>
            <a:pPr algn="ctr"/>
            <a:endParaRPr lang="en-US" sz="2800" b="1">
              <a:solidFill>
                <a:schemeClr val="accent1"/>
              </a:solidFill>
              <a:cs typeface="Calibri"/>
            </a:endParaRPr>
          </a:p>
          <a:p>
            <a:pPr marL="342900" indent="-342900" algn="ctr">
              <a:buFont typeface="Arial"/>
              <a:buChar char="•"/>
            </a:pPr>
            <a:r>
              <a:rPr lang="en-US" sz="2800" b="1">
                <a:solidFill>
                  <a:schemeClr val="accent1"/>
                </a:solidFill>
                <a:cs typeface="Calibri"/>
              </a:rPr>
              <a:t>2023 F2F PLANNING COMMITTEE</a:t>
            </a:r>
          </a:p>
          <a:p>
            <a:pPr marL="342900" indent="-342900" algn="ctr">
              <a:lnSpc>
                <a:spcPct val="150000"/>
              </a:lnSpc>
              <a:buFont typeface="Arial"/>
              <a:buChar char="•"/>
            </a:pPr>
            <a:r>
              <a:rPr lang="en-US" sz="2800" b="1">
                <a:solidFill>
                  <a:schemeClr val="accent1"/>
                </a:solidFill>
                <a:cs typeface="Calibri"/>
              </a:rPr>
              <a:t>2023 F2F BREAKOUT FACILITATORS</a:t>
            </a:r>
          </a:p>
          <a:p>
            <a:pPr algn="ctr">
              <a:lnSpc>
                <a:spcPct val="150000"/>
              </a:lnSpc>
            </a:pPr>
            <a:r>
              <a:rPr lang="en-US" sz="2000" b="1">
                <a:solidFill>
                  <a:schemeClr val="accent3"/>
                </a:solidFill>
                <a:cs typeface="Calibri"/>
              </a:rPr>
              <a:t>Interested? Drop your name in the chat or email</a:t>
            </a:r>
            <a:r>
              <a:rPr lang="en-US" sz="2000" b="1">
                <a:solidFill>
                  <a:schemeClr val="accent1"/>
                </a:solidFill>
                <a:cs typeface="Calibri"/>
              </a:rPr>
              <a:t> </a:t>
            </a:r>
            <a:r>
              <a:rPr lang="en-US" sz="2000" b="1">
                <a:solidFill>
                  <a:schemeClr val="accent1"/>
                </a:solidFill>
                <a:cs typeface="Calibri"/>
                <a:hlinkClick r:id="rId2">
                  <a:extLst>
                    <a:ext uri="{A12FA001-AC4F-418D-AE19-62706E023703}">
                      <ahyp:hlinkClr xmlns:ahyp="http://schemas.microsoft.com/office/drawing/2018/hyperlinkcolor" val="tx"/>
                    </a:ext>
                  </a:extLst>
                </a:hlinkClick>
              </a:rPr>
              <a:t>info@ilpqc.org</a:t>
            </a:r>
            <a:endParaRPr lang="en-US" sz="2000" b="1">
              <a:solidFill>
                <a:schemeClr val="accent1"/>
              </a:solidFill>
              <a:cs typeface="Calibri"/>
            </a:endParaRPr>
          </a:p>
          <a:p>
            <a:pPr algn="ctr"/>
            <a:endParaRPr lang="en-US" sz="2800" b="1">
              <a:solidFill>
                <a:schemeClr val="accent1"/>
              </a:solidFill>
              <a:cs typeface="Calibri"/>
            </a:endParaRPr>
          </a:p>
        </p:txBody>
      </p:sp>
      <p:pic>
        <p:nvPicPr>
          <p:cNvPr id="8" name="Graphic 8" descr="Megaphone1 outline">
            <a:extLst>
              <a:ext uri="{FF2B5EF4-FFF2-40B4-BE49-F238E27FC236}">
                <a16:creationId xmlns:a16="http://schemas.microsoft.com/office/drawing/2014/main" id="{21A0C426-93A7-940E-ADA4-37CEB46C3DA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363" y="4293395"/>
            <a:ext cx="1914524" cy="1914524"/>
          </a:xfrm>
          <a:prstGeom prst="rect">
            <a:avLst/>
          </a:prstGeom>
        </p:spPr>
      </p:pic>
    </p:spTree>
    <p:extLst>
      <p:ext uri="{BB962C8B-B14F-4D97-AF65-F5344CB8AC3E}">
        <p14:creationId xmlns:p14="http://schemas.microsoft.com/office/powerpoint/2010/main" val="22840295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Custom 9">
      <a:dk1>
        <a:sysClr val="windowText" lastClr="000000"/>
      </a:dk1>
      <a:lt1>
        <a:sysClr val="window" lastClr="FFFFFF"/>
      </a:lt1>
      <a:dk2>
        <a:srgbClr val="494341"/>
      </a:dk2>
      <a:lt2>
        <a:srgbClr val="E7E6E6"/>
      </a:lt2>
      <a:accent1>
        <a:srgbClr val="85CEC0"/>
      </a:accent1>
      <a:accent2>
        <a:srgbClr val="F5822A"/>
      </a:accent2>
      <a:accent3>
        <a:srgbClr val="6E6E5B"/>
      </a:accent3>
      <a:accent4>
        <a:srgbClr val="759E5F"/>
      </a:accent4>
      <a:accent5>
        <a:srgbClr val="925071"/>
      </a:accent5>
      <a:accent6>
        <a:srgbClr val="D3D321"/>
      </a:accent6>
      <a:hlink>
        <a:srgbClr val="436F9B"/>
      </a:hlink>
      <a:folHlink>
        <a:srgbClr val="CC434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4_Office Theme">
  <a:themeElements>
    <a:clrScheme name="ILPQC">
      <a:dk1>
        <a:srgbClr val="444C55"/>
      </a:dk1>
      <a:lt1>
        <a:srgbClr val="FFFFFF"/>
      </a:lt1>
      <a:dk2>
        <a:srgbClr val="79818A"/>
      </a:dk2>
      <a:lt2>
        <a:srgbClr val="F3F6FB"/>
      </a:lt2>
      <a:accent1>
        <a:srgbClr val="1C498B"/>
      </a:accent1>
      <a:accent2>
        <a:srgbClr val="F5668F"/>
      </a:accent2>
      <a:accent3>
        <a:srgbClr val="F58366"/>
      </a:accent3>
      <a:accent4>
        <a:srgbClr val="FDD702"/>
      </a:accent4>
      <a:accent5>
        <a:srgbClr val="6B95FD"/>
      </a:accent5>
      <a:accent6>
        <a:srgbClr val="A3B745"/>
      </a:accent6>
      <a:hlink>
        <a:srgbClr val="6B95FD"/>
      </a:hlink>
      <a:folHlink>
        <a:srgbClr val="6B95F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2926</TotalTime>
  <Words>1509</Words>
  <Application>Microsoft Office PowerPoint</Application>
  <PresentationFormat>Widescreen</PresentationFormat>
  <Paragraphs>259</Paragraphs>
  <Slides>33</Slides>
  <Notes>17</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33</vt:i4>
      </vt:variant>
    </vt:vector>
  </HeadingPairs>
  <TitlesOfParts>
    <vt:vector size="46" baseType="lpstr">
      <vt:lpstr>MS PGothic</vt:lpstr>
      <vt:lpstr>Arial</vt:lpstr>
      <vt:lpstr>Bahnschrift</vt:lpstr>
      <vt:lpstr>Calibri</vt:lpstr>
      <vt:lpstr>Century Gothic</vt:lpstr>
      <vt:lpstr>Lato</vt:lpstr>
      <vt:lpstr>Lato Medium</vt:lpstr>
      <vt:lpstr>Verdana</vt:lpstr>
      <vt:lpstr>Wingdings</vt:lpstr>
      <vt:lpstr>1_Office Theme</vt:lpstr>
      <vt:lpstr>2_Office Theme</vt:lpstr>
      <vt:lpstr>4_Office Theme</vt:lpstr>
      <vt:lpstr>think-cell Slide</vt:lpstr>
      <vt:lpstr>PVB Monthly Webinar:  Small group discussions strategies for success</vt:lpstr>
      <vt:lpstr>Overview</vt:lpstr>
      <vt:lpstr>Change your Name to: First Name Last Name (Hospital)</vt:lpstr>
      <vt:lpstr>ILPQC Sponsored – FREE PQI Intermittent Auscultation (IA) Opportunity for Teams </vt:lpstr>
      <vt:lpstr>2023 ILPQC Face-to-Face Meeting</vt:lpstr>
      <vt:lpstr>PowerPoint Presentation</vt:lpstr>
      <vt:lpstr>PowerPoint Presentation</vt:lpstr>
      <vt:lpstr>PowerPoint Presentation</vt:lpstr>
      <vt:lpstr>2023 F2F Volunteers Needed...</vt:lpstr>
      <vt:lpstr>2023 Face to Face: Let's Get Ready! </vt:lpstr>
      <vt:lpstr>Story Board Instructions</vt:lpstr>
      <vt:lpstr>PowerPoint Presentation</vt:lpstr>
      <vt:lpstr>PowerPoint Presentation</vt:lpstr>
      <vt:lpstr>Sample Layout </vt:lpstr>
      <vt:lpstr>Promoting Vaginal Birth</vt:lpstr>
      <vt:lpstr>PVB Aims and Measures</vt:lpstr>
      <vt:lpstr>PVB Key Strategies for Culture Change</vt:lpstr>
      <vt:lpstr>Provider and Nurse Education</vt:lpstr>
      <vt:lpstr>PowerPoint Presentation</vt:lpstr>
      <vt:lpstr>PowerPoint Presentation</vt:lpstr>
      <vt:lpstr>Cesarean Decision Checklists  and Decision Huddles/Debriefs</vt:lpstr>
      <vt:lpstr>Shared Decision Making and Patient Education</vt:lpstr>
      <vt:lpstr>Teams working on Key PVB SM</vt:lpstr>
      <vt:lpstr>NTSC C-Section Rate by Hospital</vt:lpstr>
      <vt:lpstr>NTSV C-Section Rate PVB Hospitals baseline to Q3 2022</vt:lpstr>
      <vt:lpstr>Addressing disparities: NTSV C-Section Rate by Race and Ethnicity </vt:lpstr>
      <vt:lpstr>Meeting ACOG/SMFM Criteria by  stage of labor</vt:lpstr>
      <vt:lpstr>ILPQC is here to help you  get across the finish line!</vt:lpstr>
      <vt:lpstr>Upcoming Calls</vt:lpstr>
      <vt:lpstr>PVB Breakout Sessions</vt:lpstr>
      <vt:lpstr>Change your Name to: First Name Last Name (Hospital)</vt:lpstr>
      <vt:lpstr>Small Group Breakouts:   all sharing, all learning, lots of discussion   </vt:lpstr>
      <vt:lpstr>Thanks to our Funders</vt:lpstr>
    </vt:vector>
  </TitlesOfParts>
  <Company>NorthShor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lana Rivera</dc:creator>
  <cp:lastModifiedBy>ABorders Local Account</cp:lastModifiedBy>
  <cp:revision>73</cp:revision>
  <dcterms:created xsi:type="dcterms:W3CDTF">2022-05-27T17:37:53Z</dcterms:created>
  <dcterms:modified xsi:type="dcterms:W3CDTF">2023-02-27T04:38:47Z</dcterms:modified>
</cp:coreProperties>
</file>